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44.jpg" ContentType="image/jpeg"/>
  <Override PartName="/ppt/media/image48.jpg" ContentType="image/jpeg"/>
  <Override PartName="/ppt/media/image49.jpg" ContentType="image/jpeg"/>
  <Override PartName="/ppt/media/image50.jpg" ContentType="image/jpeg"/>
  <Override PartName="/ppt/tags/tag2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6" r:id="rId1"/>
    <p:sldMasterId id="2147483844" r:id="rId2"/>
    <p:sldMasterId id="2147483832" r:id="rId3"/>
    <p:sldMasterId id="2147483648" r:id="rId4"/>
  </p:sldMasterIdLst>
  <p:notesMasterIdLst>
    <p:notesMasterId r:id="rId38"/>
  </p:notesMasterIdLst>
  <p:sldIdLst>
    <p:sldId id="297" r:id="rId5"/>
    <p:sldId id="299" r:id="rId6"/>
    <p:sldId id="298" r:id="rId7"/>
    <p:sldId id="353" r:id="rId8"/>
    <p:sldId id="302" r:id="rId9"/>
    <p:sldId id="301" r:id="rId10"/>
    <p:sldId id="352" r:id="rId11"/>
    <p:sldId id="347" r:id="rId12"/>
    <p:sldId id="348" r:id="rId13"/>
    <p:sldId id="289" r:id="rId14"/>
    <p:sldId id="292" r:id="rId15"/>
    <p:sldId id="290" r:id="rId16"/>
    <p:sldId id="291" r:id="rId17"/>
    <p:sldId id="293" r:id="rId18"/>
    <p:sldId id="274" r:id="rId19"/>
    <p:sldId id="257" r:id="rId20"/>
    <p:sldId id="258" r:id="rId21"/>
    <p:sldId id="275" r:id="rId22"/>
    <p:sldId id="349" r:id="rId23"/>
    <p:sldId id="276" r:id="rId24"/>
    <p:sldId id="266" r:id="rId25"/>
    <p:sldId id="283" r:id="rId26"/>
    <p:sldId id="267" r:id="rId27"/>
    <p:sldId id="358" r:id="rId28"/>
    <p:sldId id="285" r:id="rId29"/>
    <p:sldId id="355" r:id="rId30"/>
    <p:sldId id="356" r:id="rId31"/>
    <p:sldId id="286" r:id="rId32"/>
    <p:sldId id="341" r:id="rId33"/>
    <p:sldId id="354" r:id="rId34"/>
    <p:sldId id="351" r:id="rId35"/>
    <p:sldId id="303" r:id="rId36"/>
    <p:sldId id="295" r:id="rId37"/>
  </p:sldIdLst>
  <p:sldSz cx="12192000" cy="6858000"/>
  <p:notesSz cx="9144000" cy="6858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GRE" id="{A8FF63B3-2FF8-42FC-B1A8-246289ECBC19}">
          <p14:sldIdLst>
            <p14:sldId id="297"/>
            <p14:sldId id="299"/>
            <p14:sldId id="298"/>
            <p14:sldId id="353"/>
            <p14:sldId id="302"/>
            <p14:sldId id="301"/>
            <p14:sldId id="352"/>
            <p14:sldId id="347"/>
          </p14:sldIdLst>
        </p14:section>
        <p14:section name="Cybersec" id="{A27E8A3E-B05E-43EA-9E69-416432B62C47}">
          <p14:sldIdLst>
            <p14:sldId id="348"/>
            <p14:sldId id="289"/>
            <p14:sldId id="292"/>
            <p14:sldId id="290"/>
            <p14:sldId id="291"/>
            <p14:sldId id="293"/>
          </p14:sldIdLst>
        </p14:section>
        <p14:section name="IEEE" id="{7403F63D-CADE-4BA6-9EE3-030C9F4F85EB}">
          <p14:sldIdLst>
            <p14:sldId id="274"/>
            <p14:sldId id="257"/>
            <p14:sldId id="258"/>
            <p14:sldId id="275"/>
            <p14:sldId id="349"/>
            <p14:sldId id="276"/>
            <p14:sldId id="266"/>
            <p14:sldId id="283"/>
            <p14:sldId id="267"/>
            <p14:sldId id="358"/>
          </p14:sldIdLst>
        </p14:section>
        <p14:section name="AMGITT" id="{5DB1E502-F222-4703-A113-867BD871E3EC}">
          <p14:sldIdLst>
            <p14:sldId id="285"/>
            <p14:sldId id="355"/>
            <p14:sldId id="356"/>
            <p14:sldId id="286"/>
            <p14:sldId id="341"/>
            <p14:sldId id="354"/>
            <p14:sldId id="351"/>
            <p14:sldId id="303"/>
            <p14:sldId id="295"/>
          </p14:sldIdLst>
        </p14:section>
      </p14:sectionLst>
    </p:ext>
    <p:ext uri="{EFAFB233-063F-42B5-8137-9DF3F51BA10A}">
      <p15:sldGuideLst xmlns:p15="http://schemas.microsoft.com/office/powerpoint/2012/main">
        <p15:guide id="1" orient="horz" pos="288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8" d="100"/>
          <a:sy n="78" d="100"/>
        </p:scale>
        <p:origin x="850" y="62"/>
      </p:cViewPr>
      <p:guideLst>
        <p:guide orient="horz" pos="288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1F23FCD1-A346-4B29-A794-313819718346}" type="datetimeFigureOut">
              <a:rPr lang="es-ES" smtClean="0"/>
              <a:t>29/09/2024</a:t>
            </a:fld>
            <a:endParaRPr lang="es-ES"/>
          </a:p>
        </p:txBody>
      </p:sp>
      <p:sp>
        <p:nvSpPr>
          <p:cNvPr id="4" name="Marcador de imagen de diapositiva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AF2E516C-0953-46FF-BE96-D20F6F7784F6}" type="slidenum">
              <a:rPr lang="es-ES" smtClean="0"/>
              <a:t>‹#›</a:t>
            </a:fld>
            <a:endParaRPr lang="es-ES"/>
          </a:p>
        </p:txBody>
      </p:sp>
    </p:spTree>
    <p:extLst>
      <p:ext uri="{BB962C8B-B14F-4D97-AF65-F5344CB8AC3E}">
        <p14:creationId xmlns:p14="http://schemas.microsoft.com/office/powerpoint/2010/main" val="18727110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1</a:t>
            </a:fld>
            <a:endParaRPr lang="en-US"/>
          </a:p>
        </p:txBody>
      </p:sp>
    </p:spTree>
    <p:extLst>
      <p:ext uri="{BB962C8B-B14F-4D97-AF65-F5344CB8AC3E}">
        <p14:creationId xmlns:p14="http://schemas.microsoft.com/office/powerpoint/2010/main" val="38671131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Qué son las infraestructuras criticas? Son</a:t>
            </a:r>
            <a:r>
              <a:rPr lang="es-ES_tradnl" sz="1800" dirty="0">
                <a:effectLst/>
                <a:latin typeface="Times New Roman" panose="02020603050405020304" pitchFamily="18" charset="0"/>
                <a:ea typeface="Calibri" panose="020F0502020204030204" pitchFamily="34" charset="0"/>
                <a:cs typeface="Times New Roman" panose="02020603050405020304" pitchFamily="18" charset="0"/>
              </a:rPr>
              <a:t> los activos que son esenciales para el funcionamiento y seguridad de una sociedad y su economía. Por ejemplo, instalaciones de: Generación, transmisión y distribución de energía; agricultura, suministro de agua, hospitales, sistemas de transport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_tradnl" sz="1800" dirty="0">
                <a:effectLst/>
                <a:latin typeface="Times New Roman" panose="02020603050405020304" pitchFamily="18" charset="0"/>
                <a:ea typeface="Calibri" panose="020F0502020204030204" pitchFamily="34" charset="0"/>
                <a:cs typeface="Times New Roman" panose="02020603050405020304" pitchFamily="18" charset="0"/>
              </a:rPr>
              <a:t>En este trabajo nos limitaremos a la generación de energía eléctrica de una planta eólica. Está asociado al sector industrial pues utiliza sistemas de control, conectividad y procesos automáticos; aquel que se encarga de transformar el recurso del viento para producir electricidad mediante aerogeneradores. Utiliza las nuevas tecnologías y por tanto susceptibles de vulnerabilidad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fld id="{2261C167-AD74-4998-8BA9-876007413A79}" type="slidenum">
              <a:rPr lang="en-US" smtClean="0"/>
              <a:t>11</a:t>
            </a:fld>
            <a:endParaRPr lang="en-US"/>
          </a:p>
        </p:txBody>
      </p:sp>
    </p:spTree>
    <p:extLst>
      <p:ext uri="{BB962C8B-B14F-4D97-AF65-F5344CB8AC3E}">
        <p14:creationId xmlns:p14="http://schemas.microsoft.com/office/powerpoint/2010/main" val="503565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lnSpc>
                <a:spcPct val="107000"/>
              </a:lnSpc>
              <a:spcBef>
                <a:spcPts val="0"/>
              </a:spcBef>
              <a:spcAft>
                <a:spcPts val="600"/>
              </a:spcAft>
            </a:pPr>
            <a:r>
              <a:rPr lang="es-ES" sz="1800" spc="5" dirty="0">
                <a:effectLst/>
                <a:latin typeface="Times New Roman" panose="02020603050405020304" pitchFamily="18" charset="0"/>
                <a:ea typeface="Calibri" panose="020F0502020204030204" pitchFamily="34" charset="0"/>
                <a:cs typeface="Times New Roman" panose="02020603050405020304" pitchFamily="18" charset="0"/>
              </a:rPr>
              <a:t>En la siguiente transparencia y según el estándar, podemos ver los distintos niveles que muestra la integración del sistema automático de control industrial y de todos sus elemento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Nivel 1: Elementos de campo, sensores y actuadores que permiten interactuar con el mundo físico y los procesos básicos que transforman los bienes y servicio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Nivel 2: Control de Procesos, donde está la lógica de control, los algoritmos y los sistemas de realimentación que permiten analizar la situación de los sensores, tomar decisiones. Los ejemplos incluyen autómatas programables (PLC), unidades terminales remotas (RTU), y las interfaces hombre-máquina (HMI).</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Nivel 3: Dispositivos que adquieren datos y controlan los procesos generales dentro del sistema y los monitorizan. Por ejemplo, el omnipresente software SCADA (Sistema de Control y Adquisición de Dato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Nivel 4: Gestión de la producción. Los ejemplos incluyen gestión de lotes, historiadores en bases de dato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Nivel 5: Es la Administración y nivel de inteligencia, toma de decisiones de la industria.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Marcador de número de diapositiva 3"/>
          <p:cNvSpPr>
            <a:spLocks noGrp="1"/>
          </p:cNvSpPr>
          <p:nvPr>
            <p:ph type="sldNum" sz="quarter" idx="5"/>
          </p:nvPr>
        </p:nvSpPr>
        <p:spPr/>
        <p:txBody>
          <a:bodyPr/>
          <a:lstStyle/>
          <a:p>
            <a:fld id="{2261C167-AD74-4998-8BA9-876007413A79}" type="slidenum">
              <a:rPr lang="en-US" smtClean="0"/>
              <a:t>12</a:t>
            </a:fld>
            <a:endParaRPr lang="en-US"/>
          </a:p>
        </p:txBody>
      </p:sp>
    </p:spTree>
    <p:extLst>
      <p:ext uri="{BB962C8B-B14F-4D97-AF65-F5344CB8AC3E}">
        <p14:creationId xmlns:p14="http://schemas.microsoft.com/office/powerpoint/2010/main" val="21536521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lnSpc>
                <a:spcPct val="107000"/>
              </a:lnSpc>
              <a:spcBef>
                <a:spcPts val="0"/>
              </a:spcBef>
              <a:spcAft>
                <a:spcPts val="600"/>
              </a:spcAft>
            </a:pPr>
            <a:r>
              <a:rPr lang="es-ES_tradnl" sz="1800" dirty="0">
                <a:effectLst/>
                <a:latin typeface="Times New Roman" panose="02020603050405020304" pitchFamily="18" charset="0"/>
                <a:ea typeface="Calibri" panose="020F0502020204030204" pitchFamily="34" charset="0"/>
                <a:cs typeface="Times New Roman" panose="02020603050405020304" pitchFamily="18" charset="0"/>
              </a:rPr>
              <a:t>¿Cuáles son las diferencias entre la seguridad en Tecnologías de la Información y Tecnologías de la operación o sistemas de control? Uno se centra en el dato y otro en el proceso de producció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Otra de las diferencias más notables es en la prioridad de la triada de la seguridad de la información. La disponibilidad está muy por encima de todo. La fábrica debe producir todo lo que pueda y a máxima capacidad del 100% y si fuera las 24h mejor. Las otras dos (confidencialidad e integridad) quedan relegadas en peor valoració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En IT si hay algún fallo puntual es tolerable y un reinicio del </a:t>
            </a:r>
            <a:r>
              <a:rPr lang="es-ES" sz="1800" dirty="0" err="1">
                <a:effectLst/>
                <a:latin typeface="Times New Roman" panose="02020603050405020304" pitchFamily="18" charset="0"/>
                <a:ea typeface="Calibri" panose="020F0502020204030204" pitchFamily="34" charset="0"/>
                <a:cs typeface="Times New Roman" panose="02020603050405020304" pitchFamily="18" charset="0"/>
              </a:rPr>
              <a:t>router</a:t>
            </a: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 o del ordenador suele ser algo sencillo. En cambio, los reinicios de los sistemas industriales son dificultosos porque la mayoría son manuales y necesitan sincronización entre ello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Por otro lado, el ciclo de vida de los productos hardware en Industria suelen ser hasta 20 años en contraposición a dispositivos comerciales que a los 5 años son totalmente obsoleto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Esto es así porque los entornos industriales establecen condiciones difíciles que los dispositivos y las comunicaciones deben sostener. Podemos comentar temperaturas extremas, interferencias electromagnéticas (EMI), humedad, suciedad, vibración. Por consiguiente, el hardware será reforzado, protegido contra blindaje eléctrico y electromagnético y con unos conectores adecuado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Los intentos de Estandarización en IT es ISO 27001 vs la IEC 62443 estudiada en este TF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fld id="{2261C167-AD74-4998-8BA9-876007413A79}" type="slidenum">
              <a:rPr lang="en-US" smtClean="0"/>
              <a:t>13</a:t>
            </a:fld>
            <a:endParaRPr lang="en-US"/>
          </a:p>
        </p:txBody>
      </p:sp>
    </p:spTree>
    <p:extLst>
      <p:ext uri="{BB962C8B-B14F-4D97-AF65-F5344CB8AC3E}">
        <p14:creationId xmlns:p14="http://schemas.microsoft.com/office/powerpoint/2010/main" val="3439830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lnSpc>
                <a:spcPct val="107000"/>
              </a:lnSpc>
              <a:spcBef>
                <a:spcPts val="0"/>
              </a:spcBef>
              <a:spcAft>
                <a:spcPts val="600"/>
              </a:spcAft>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Qué son las infraestructuras criticas? Son</a:t>
            </a:r>
            <a:r>
              <a:rPr lang="es-ES_tradnl" sz="1800" dirty="0">
                <a:effectLst/>
                <a:latin typeface="Times New Roman" panose="02020603050405020304" pitchFamily="18" charset="0"/>
                <a:ea typeface="Calibri" panose="020F0502020204030204" pitchFamily="34" charset="0"/>
                <a:cs typeface="Times New Roman" panose="02020603050405020304" pitchFamily="18" charset="0"/>
              </a:rPr>
              <a:t> los activos que son esenciales para el funcionamiento y seguridad de una sociedad y su economía. Por ejemplo, instalaciones de: Generación, transmisión y distribución de energía; agricultura, suministro de agua, hospitales, sistemas de transport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600"/>
              </a:spcAft>
            </a:pPr>
            <a:r>
              <a:rPr lang="es-ES_tradnl" sz="1800" dirty="0">
                <a:effectLst/>
                <a:latin typeface="Times New Roman" panose="02020603050405020304" pitchFamily="18" charset="0"/>
                <a:ea typeface="Calibri" panose="020F0502020204030204" pitchFamily="34" charset="0"/>
                <a:cs typeface="Times New Roman" panose="02020603050405020304" pitchFamily="18" charset="0"/>
              </a:rPr>
              <a:t>En este trabajo nos limitaremos a la generación de energía eléctrica de una planta eólica. Está asociado al sector industrial pues utiliza sistemas de control, conectividad y procesos automáticos; aquel que se encarga de transformar el recurso del viento para producir electricidad mediante aerogeneradores. Utiliza las nuevas tecnologías y por tanto susceptibles de vulnerabilidad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fld id="{2261C167-AD74-4998-8BA9-876007413A79}" type="slidenum">
              <a:rPr lang="en-US" smtClean="0"/>
              <a:t>14</a:t>
            </a:fld>
            <a:endParaRPr lang="en-US"/>
          </a:p>
        </p:txBody>
      </p:sp>
    </p:spTree>
    <p:extLst>
      <p:ext uri="{BB962C8B-B14F-4D97-AF65-F5344CB8AC3E}">
        <p14:creationId xmlns:p14="http://schemas.microsoft.com/office/powerpoint/2010/main" val="18673133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32</a:t>
            </a:fld>
            <a:endParaRPr lang="en-US"/>
          </a:p>
        </p:txBody>
      </p:sp>
    </p:spTree>
    <p:extLst>
      <p:ext uri="{BB962C8B-B14F-4D97-AF65-F5344CB8AC3E}">
        <p14:creationId xmlns:p14="http://schemas.microsoft.com/office/powerpoint/2010/main" val="4146369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effectLst/>
                <a:latin typeface="Times New Roman" panose="02020603050405020304" pitchFamily="18" charset="0"/>
                <a:ea typeface="Calibri" panose="020F0502020204030204" pitchFamily="34" charset="0"/>
                <a:cs typeface="Times New Roman" panose="02020603050405020304" pitchFamily="18" charset="0"/>
              </a:rPr>
              <a:t>Y con esto acabo la presentación. Muchas gracias por vuestro tiempo y, si tenéis cualquier duda estoy a vuestra disposició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fld id="{2261C167-AD74-4998-8BA9-876007413A79}" type="slidenum">
              <a:rPr lang="en-US" smtClean="0"/>
              <a:t>33</a:t>
            </a:fld>
            <a:endParaRPr lang="en-US"/>
          </a:p>
        </p:txBody>
      </p:sp>
    </p:spTree>
    <p:extLst>
      <p:ext uri="{BB962C8B-B14F-4D97-AF65-F5344CB8AC3E}">
        <p14:creationId xmlns:p14="http://schemas.microsoft.com/office/powerpoint/2010/main" val="3409756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2</a:t>
            </a:fld>
            <a:endParaRPr lang="en-US"/>
          </a:p>
        </p:txBody>
      </p:sp>
    </p:spTree>
    <p:extLst>
      <p:ext uri="{BB962C8B-B14F-4D97-AF65-F5344CB8AC3E}">
        <p14:creationId xmlns:p14="http://schemas.microsoft.com/office/powerpoint/2010/main" val="1167059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3</a:t>
            </a:fld>
            <a:endParaRPr lang="en-US"/>
          </a:p>
        </p:txBody>
      </p:sp>
    </p:spTree>
    <p:extLst>
      <p:ext uri="{BB962C8B-B14F-4D97-AF65-F5344CB8AC3E}">
        <p14:creationId xmlns:p14="http://schemas.microsoft.com/office/powerpoint/2010/main" val="4024190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4</a:t>
            </a:fld>
            <a:endParaRPr lang="en-US"/>
          </a:p>
        </p:txBody>
      </p:sp>
    </p:spTree>
    <p:extLst>
      <p:ext uri="{BB962C8B-B14F-4D97-AF65-F5344CB8AC3E}">
        <p14:creationId xmlns:p14="http://schemas.microsoft.com/office/powerpoint/2010/main" val="3559906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5</a:t>
            </a:fld>
            <a:endParaRPr lang="en-US"/>
          </a:p>
        </p:txBody>
      </p:sp>
    </p:spTree>
    <p:extLst>
      <p:ext uri="{BB962C8B-B14F-4D97-AF65-F5344CB8AC3E}">
        <p14:creationId xmlns:p14="http://schemas.microsoft.com/office/powerpoint/2010/main" val="4111053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noProof="0"/>
              <a:t>Notice </a:t>
            </a:r>
            <a:fld id="{84EE17C3-51E0-4A9C-B3A8-E6548E6A9E95}" type="slidenum">
              <a:rPr lang="en-US" noProof="0" smtClean="0"/>
              <a:pPr/>
              <a:t>6</a:t>
            </a:fld>
            <a:endParaRPr lang="en-US" noProof="0"/>
          </a:p>
        </p:txBody>
      </p:sp>
    </p:spTree>
    <p:extLst>
      <p:ext uri="{BB962C8B-B14F-4D97-AF65-F5344CB8AC3E}">
        <p14:creationId xmlns:p14="http://schemas.microsoft.com/office/powerpoint/2010/main" val="1654878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7</a:t>
            </a:fld>
            <a:endParaRPr lang="en-US"/>
          </a:p>
        </p:txBody>
      </p:sp>
    </p:spTree>
    <p:extLst>
      <p:ext uri="{BB962C8B-B14F-4D97-AF65-F5344CB8AC3E}">
        <p14:creationId xmlns:p14="http://schemas.microsoft.com/office/powerpoint/2010/main" val="2908447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8</a:t>
            </a:fld>
            <a:endParaRPr lang="en-US"/>
          </a:p>
        </p:txBody>
      </p:sp>
    </p:spTree>
    <p:extLst>
      <p:ext uri="{BB962C8B-B14F-4D97-AF65-F5344CB8AC3E}">
        <p14:creationId xmlns:p14="http://schemas.microsoft.com/office/powerpoint/2010/main" val="3713249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t>Notice </a:t>
            </a:r>
            <a:fld id="{84EE17C3-51E0-4A9C-B3A8-E6548E6A9E95}" type="slidenum">
              <a:rPr lang="en-US" smtClean="0"/>
              <a:pPr/>
              <a:t>9</a:t>
            </a:fld>
            <a:endParaRPr lang="en-US"/>
          </a:p>
        </p:txBody>
      </p:sp>
    </p:spTree>
    <p:extLst>
      <p:ext uri="{BB962C8B-B14F-4D97-AF65-F5344CB8AC3E}">
        <p14:creationId xmlns:p14="http://schemas.microsoft.com/office/powerpoint/2010/main" val="3901120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8.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9.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10.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title color fill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52E18E2-8467-4B13-8CE4-83A0E21F2D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7" name="Objekt 6" hidden="1">
                        <a:extLst>
                          <a:ext uri="{FF2B5EF4-FFF2-40B4-BE49-F238E27FC236}">
                            <a16:creationId xmlns:a16="http://schemas.microsoft.com/office/drawing/2014/main" id="{652E18E2-8467-4B13-8CE4-83A0E21F2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vert="horz" lIns="0" tIns="0" bIns="0" anchor="b"/>
          <a:lstStyle>
            <a:lvl1pPr algn="l" rtl="0">
              <a:defRPr sz="4400">
                <a:solidFill>
                  <a:schemeClr val="tx1"/>
                </a:solidFill>
              </a:defRPr>
            </a:lvl1pPr>
          </a:lstStyle>
          <a:p>
            <a:r>
              <a:rPr lang="en-US" noProof="0"/>
              <a:t>Chapter divider</a:t>
            </a:r>
          </a:p>
        </p:txBody>
      </p:sp>
      <p:sp>
        <p:nvSpPr>
          <p:cNvPr id="4"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3" name="Date">
            <a:extLst>
              <a:ext uri="{FF2B5EF4-FFF2-40B4-BE49-F238E27FC236}">
                <a16:creationId xmlns:a16="http://schemas.microsoft.com/office/drawing/2014/main" id="{C402A96C-EBED-40E1-A4C2-8E37DB8DC9F5}"/>
              </a:ext>
            </a:extLst>
          </p:cNvPr>
          <p:cNvSpPr>
            <a:spLocks noGrp="1"/>
          </p:cNvSpPr>
          <p:nvPr>
            <p:ph type="dt" sz="half" idx="10"/>
          </p:nvPr>
        </p:nvSpPr>
        <p:spPr/>
        <p:txBody>
          <a:bodyPr/>
          <a:lstStyle>
            <a:lvl1pPr rtl="0">
              <a:defRPr/>
            </a:lvl1pPr>
          </a:lstStyle>
          <a:p>
            <a:endParaRPr lang="en-GB"/>
          </a:p>
        </p:txBody>
      </p:sp>
      <p:sp>
        <p:nvSpPr>
          <p:cNvPr id="5" name="Footer">
            <a:extLst>
              <a:ext uri="{FF2B5EF4-FFF2-40B4-BE49-F238E27FC236}">
                <a16:creationId xmlns:a16="http://schemas.microsoft.com/office/drawing/2014/main" id="{8BDE6292-7392-48FE-A6BA-AC5CD29F9ADE}"/>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8" name="Slide Number">
            <a:extLst>
              <a:ext uri="{FF2B5EF4-FFF2-40B4-BE49-F238E27FC236}">
                <a16:creationId xmlns:a16="http://schemas.microsoft.com/office/drawing/2014/main" id="{5A665DDE-DE0E-4DA5-8EAA-1E82501DB975}"/>
              </a:ext>
            </a:extLst>
          </p:cNvPr>
          <p:cNvSpPr>
            <a:spLocks noGrp="1"/>
          </p:cNvSpPr>
          <p:nvPr>
            <p:ph type="sldNum" sz="quarter" idx="12"/>
          </p:nvPr>
        </p:nvSpPr>
        <p:spPr/>
        <p:txBody>
          <a:bodyPr/>
          <a:lstStyle>
            <a:lvl1pPr rtl="0">
              <a:defRPr/>
            </a:lvl1pPr>
          </a:lstStyle>
          <a:p>
            <a:fld id="{E5B0116A-0D09-4E99-8C69-B4C15A5D8A2B}" type="slidenum">
              <a:rPr lang="en-GB" smtClean="0"/>
              <a:pPr/>
              <a:t>‹#›</a:t>
            </a:fld>
            <a:endParaRPr lang="en-GB"/>
          </a:p>
        </p:txBody>
      </p:sp>
      <p:pic>
        <p:nvPicPr>
          <p:cNvPr id="9" name="Picture 13">
            <a:extLst>
              <a:ext uri="{FF2B5EF4-FFF2-40B4-BE49-F238E27FC236}">
                <a16:creationId xmlns:a16="http://schemas.microsoft.com/office/drawing/2014/main" id="{1AB766AC-ED0B-4087-A09F-BD4F854FCD31}"/>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315023569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picture full screen logo black">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31E311-78F5-4D16-AFFF-C551D1B02A9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7431E311-78F5-4D16-AFFF-C551D1B0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63F9E680-06B4-4505-95CD-F907D5EE720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7" name="Bildplatzhalter 6">
            <a:extLst>
              <a:ext uri="{FF2B5EF4-FFF2-40B4-BE49-F238E27FC236}">
                <a16:creationId xmlns:a16="http://schemas.microsoft.com/office/drawing/2014/main" id="{516F11CF-BE50-4EDC-A0E2-B328420C8F64}"/>
              </a:ext>
            </a:extLst>
          </p:cNvPr>
          <p:cNvSpPr>
            <a:spLocks noGrp="1"/>
          </p:cNvSpPr>
          <p:nvPr>
            <p:ph type="pic" sz="quarter" idx="12" hasCustomPrompt="1"/>
          </p:nvPr>
        </p:nvSpPr>
        <p:spPr>
          <a:xfrm>
            <a:off x="0" y="0"/>
            <a:ext cx="12192000" cy="6858000"/>
          </a:xfrm>
        </p:spPr>
        <p:txBody>
          <a:bodyPr lIns="612000" tIns="504000"/>
          <a:lstStyle>
            <a:lvl1pPr>
              <a:defRPr>
                <a:sym typeface="Wingdings" panose="05000000000000000000" pitchFamily="2" charset="2"/>
              </a:defRPr>
            </a:lvl1pPr>
          </a:lstStyle>
          <a:p>
            <a:r>
              <a:rPr lang="en-US"/>
              <a:t>Click icon to add picture and reset layout </a:t>
            </a:r>
            <a:r>
              <a:rPr lang="en-GB"/>
              <a:t>( “start” ribbon  “slides” section  “reset”)</a:t>
            </a:r>
            <a:endParaRPr lang="en-US"/>
          </a:p>
        </p:txBody>
      </p:sp>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259600"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259600"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Placeholder 4">
            <a:extLst>
              <a:ext uri="{FF2B5EF4-FFF2-40B4-BE49-F238E27FC236}">
                <a16:creationId xmlns:a16="http://schemas.microsoft.com/office/drawing/2014/main" id="{EEDB73C7-AC84-4752-8A56-05C5A6A1CAD3}"/>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GB"/>
              <a:t>Restricted © Siemens Gamesa Renewable Energy, YYYY | Author | Department</a:t>
            </a:r>
          </a:p>
        </p:txBody>
      </p:sp>
      <p:sp>
        <p:nvSpPr>
          <p:cNvPr id="50" name="Textplatzhalter 49">
            <a:extLst>
              <a:ext uri="{FF2B5EF4-FFF2-40B4-BE49-F238E27FC236}">
                <a16:creationId xmlns:a16="http://schemas.microsoft.com/office/drawing/2014/main" id="{8E43C720-66DB-46CE-89F0-D79BB8FCC416}"/>
              </a:ext>
            </a:extLst>
          </p:cNvPr>
          <p:cNvSpPr>
            <a:spLocks noGrp="1"/>
          </p:cNvSpPr>
          <p:nvPr>
            <p:ph type="body" sz="quarter" idx="13"/>
          </p:nvPr>
        </p:nvSpPr>
        <p:spPr>
          <a:xfrm>
            <a:off x="9663113" y="403233"/>
            <a:ext cx="2051050" cy="330512"/>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stStyle>
          <a:p>
            <a:pPr lvl="0"/>
            <a:endParaRPr lang="en-US"/>
          </a:p>
        </p:txBody>
      </p:sp>
    </p:spTree>
    <p:extLst>
      <p:ext uri="{BB962C8B-B14F-4D97-AF65-F5344CB8AC3E}">
        <p14:creationId xmlns:p14="http://schemas.microsoft.com/office/powerpoint/2010/main" val="3222559649"/>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Index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9CDBE98-5CCB-4321-A70B-2EF86A1CDEB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49CDBE98-5CCB-4321-A70B-2EF86A1CD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able of contents">
            <a:extLst>
              <a:ext uri="{FF2B5EF4-FFF2-40B4-BE49-F238E27FC236}">
                <a16:creationId xmlns:a16="http://schemas.microsoft.com/office/drawing/2014/main" id="{C310531E-0CC7-4528-B1E6-9F819FD0E005}"/>
              </a:ext>
            </a:extLst>
          </p:cNvPr>
          <p:cNvSpPr>
            <a:spLocks noGrp="1"/>
          </p:cNvSpPr>
          <p:nvPr>
            <p:ph type="title" hasCustomPrompt="1"/>
          </p:nvPr>
        </p:nvSpPr>
        <p:spPr/>
        <p:txBody>
          <a:bodyPr vert="horz"/>
          <a:lstStyle>
            <a:lvl1pPr rtl="0">
              <a:defRPr/>
            </a:lvl1pPr>
          </a:lstStyle>
          <a:p>
            <a:r>
              <a:rPr lang="en-US" noProof="0"/>
              <a:t>Table of contents</a:t>
            </a:r>
            <a:endParaRPr lang="en-US"/>
          </a:p>
        </p:txBody>
      </p:sp>
      <p:sp>
        <p:nvSpPr>
          <p:cNvPr id="4" name="Chapter 1">
            <a:extLst>
              <a:ext uri="{FF2B5EF4-FFF2-40B4-BE49-F238E27FC236}">
                <a16:creationId xmlns:a16="http://schemas.microsoft.com/office/drawing/2014/main" id="{3EF4C540-3305-446C-B3A6-5230FE8E1E68}"/>
              </a:ext>
            </a:extLst>
          </p:cNvPr>
          <p:cNvSpPr>
            <a:spLocks noGrp="1"/>
          </p:cNvSpPr>
          <p:nvPr>
            <p:ph type="body" sz="quarter" idx="16" hasCustomPrompt="1"/>
          </p:nvPr>
        </p:nvSpPr>
        <p:spPr>
          <a:xfrm>
            <a:off x="627063" y="1703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4" name="Chapter 2">
            <a:extLst>
              <a:ext uri="{FF2B5EF4-FFF2-40B4-BE49-F238E27FC236}">
                <a16:creationId xmlns:a16="http://schemas.microsoft.com/office/drawing/2014/main" id="{F65B1E50-0024-482D-BD5A-7064672F6ACD}"/>
              </a:ext>
            </a:extLst>
          </p:cNvPr>
          <p:cNvSpPr>
            <a:spLocks noGrp="1"/>
          </p:cNvSpPr>
          <p:nvPr>
            <p:ph type="body" sz="quarter" idx="17" hasCustomPrompt="1"/>
          </p:nvPr>
        </p:nvSpPr>
        <p:spPr>
          <a:xfrm>
            <a:off x="2930732" y="1703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5" name="Chapter 3">
            <a:extLst>
              <a:ext uri="{FF2B5EF4-FFF2-40B4-BE49-F238E27FC236}">
                <a16:creationId xmlns:a16="http://schemas.microsoft.com/office/drawing/2014/main" id="{8AC85E50-79A3-4CC2-85A0-1E361742F5E7}"/>
              </a:ext>
            </a:extLst>
          </p:cNvPr>
          <p:cNvSpPr>
            <a:spLocks noGrp="1"/>
          </p:cNvSpPr>
          <p:nvPr>
            <p:ph type="body" sz="quarter" idx="18" hasCustomPrompt="1"/>
          </p:nvPr>
        </p:nvSpPr>
        <p:spPr>
          <a:xfrm>
            <a:off x="5234400" y="1703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6" name="Chapter 4">
            <a:extLst>
              <a:ext uri="{FF2B5EF4-FFF2-40B4-BE49-F238E27FC236}">
                <a16:creationId xmlns:a16="http://schemas.microsoft.com/office/drawing/2014/main" id="{6AEF1AD1-4DDB-4DBA-8C94-A0DA12F1A03A}"/>
              </a:ext>
            </a:extLst>
          </p:cNvPr>
          <p:cNvSpPr>
            <a:spLocks noGrp="1"/>
          </p:cNvSpPr>
          <p:nvPr>
            <p:ph type="body" sz="quarter" idx="19" hasCustomPrompt="1"/>
          </p:nvPr>
        </p:nvSpPr>
        <p:spPr>
          <a:xfrm>
            <a:off x="627063" y="3862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7" name="Chapter 5">
            <a:extLst>
              <a:ext uri="{FF2B5EF4-FFF2-40B4-BE49-F238E27FC236}">
                <a16:creationId xmlns:a16="http://schemas.microsoft.com/office/drawing/2014/main" id="{018C79BC-8598-41F5-B6E1-0DB86A5FC94D}"/>
              </a:ext>
            </a:extLst>
          </p:cNvPr>
          <p:cNvSpPr>
            <a:spLocks noGrp="1"/>
          </p:cNvSpPr>
          <p:nvPr>
            <p:ph type="body" sz="quarter" idx="20" hasCustomPrompt="1"/>
          </p:nvPr>
        </p:nvSpPr>
        <p:spPr>
          <a:xfrm>
            <a:off x="2930732" y="3862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8" name="Chapter 6">
            <a:extLst>
              <a:ext uri="{FF2B5EF4-FFF2-40B4-BE49-F238E27FC236}">
                <a16:creationId xmlns:a16="http://schemas.microsoft.com/office/drawing/2014/main" id="{92BB5C0A-7CAC-4620-92E5-253BEFF2D667}"/>
              </a:ext>
            </a:extLst>
          </p:cNvPr>
          <p:cNvSpPr>
            <a:spLocks noGrp="1"/>
          </p:cNvSpPr>
          <p:nvPr>
            <p:ph type="body" sz="quarter" idx="21" hasCustomPrompt="1"/>
          </p:nvPr>
        </p:nvSpPr>
        <p:spPr>
          <a:xfrm>
            <a:off x="5234400" y="3862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3" name="Date">
            <a:extLst>
              <a:ext uri="{FF2B5EF4-FFF2-40B4-BE49-F238E27FC236}">
                <a16:creationId xmlns:a16="http://schemas.microsoft.com/office/drawing/2014/main" id="{4BEA8033-56A0-4F47-9018-9C7D7CE40535}"/>
              </a:ext>
            </a:extLst>
          </p:cNvPr>
          <p:cNvSpPr>
            <a:spLocks noGrp="1"/>
          </p:cNvSpPr>
          <p:nvPr>
            <p:ph type="dt" sz="half" idx="2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BEF13B2C-DEFE-41B2-9CC0-1FA45BF6271A}"/>
              </a:ext>
            </a:extLst>
          </p:cNvPr>
          <p:cNvSpPr>
            <a:spLocks noGrp="1"/>
          </p:cNvSpPr>
          <p:nvPr>
            <p:ph type="ftr" sz="quarter" idx="23"/>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6" name="Slide Number">
            <a:extLst>
              <a:ext uri="{FF2B5EF4-FFF2-40B4-BE49-F238E27FC236}">
                <a16:creationId xmlns:a16="http://schemas.microsoft.com/office/drawing/2014/main" id="{9530C658-0DEB-4057-A00C-913321EE2E10}"/>
              </a:ext>
            </a:extLst>
          </p:cNvPr>
          <p:cNvSpPr>
            <a:spLocks noGrp="1"/>
          </p:cNvSpPr>
          <p:nvPr>
            <p:ph type="sldNum" sz="quarter" idx="24"/>
          </p:nvPr>
        </p:nvSpPr>
        <p:spPr/>
        <p:txBody>
          <a:bodyPr/>
          <a:lstStyle>
            <a:lvl1pPr rtl="0">
              <a:defRPr/>
            </a:lvl1pPr>
          </a:lstStyle>
          <a:p>
            <a:fld id="{E5B0116A-0D09-4E99-8C69-B4C15A5D8A2B}" type="slidenum">
              <a:rPr lang="en-GB" smtClean="0"/>
              <a:pPr/>
              <a:t>‹#›</a:t>
            </a:fld>
            <a:endParaRPr lang="en-GB"/>
          </a:p>
        </p:txBody>
      </p:sp>
    </p:spTree>
    <p:extLst>
      <p:ext uri="{BB962C8B-B14F-4D97-AF65-F5344CB8AC3E}">
        <p14:creationId xmlns:p14="http://schemas.microsoft.com/office/powerpoint/2010/main" val="31760905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picture onshore 2">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52F1E00-0A46-414A-BC0E-78D56E3734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052F1E00-0A46-414A-BC0E-78D56E3734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1F2FA311-750F-4E7F-BE77-CF1087F50C11}"/>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21" name="Grafik 20" descr="Ein Bild, das Windmühle, Outdoorobjekt enthält.&#10;&#10;Automatisch generierte Beschreibung">
            <a:extLst>
              <a:ext uri="{FF2B5EF4-FFF2-40B4-BE49-F238E27FC236}">
                <a16:creationId xmlns:a16="http://schemas.microsoft.com/office/drawing/2014/main" id="{C690E458-73F7-40BF-8ABC-4B150AE53817}"/>
              </a:ext>
            </a:extLst>
          </p:cNvPr>
          <p:cNvPicPr>
            <a:picLocks noChangeAspect="1"/>
          </p:cNvPicPr>
          <p:nvPr userDrawn="1"/>
        </p:nvPicPr>
        <p:blipFill rotWithShape="1">
          <a:blip r:embed="rId5"/>
          <a:srcRect l="7280" t="5829" b="6044"/>
          <a:stretch/>
        </p:blipFill>
        <p:spPr>
          <a:xfrm>
            <a:off x="1193800" y="977899"/>
            <a:ext cx="10998199" cy="5880101"/>
          </a:xfrm>
          <a:prstGeom prst="rect">
            <a:avLst/>
          </a:prstGeom>
        </p:spPr>
      </p:pic>
      <p:pic>
        <p:nvPicPr>
          <p:cNvPr id="12" name="Grafik 11">
            <a:extLst>
              <a:ext uri="{FF2B5EF4-FFF2-40B4-BE49-F238E27FC236}">
                <a16:creationId xmlns:a16="http://schemas.microsoft.com/office/drawing/2014/main" id="{F315FD56-F1CA-46FA-BF03-921F8636C1B1}"/>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a:extLst>
              <a:ext uri="{FF2B5EF4-FFF2-40B4-BE49-F238E27FC236}">
                <a16:creationId xmlns:a16="http://schemas.microsoft.com/office/drawing/2014/main" id="{C2EB4BBF-386C-4A83-BDBA-CC46EF263094}"/>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Restricted © Siemens Gamesa Renewable Energy, YYYY | Author | Department</a:t>
            </a:r>
            <a:endParaRPr lang="en-GB"/>
          </a:p>
        </p:txBody>
      </p:sp>
    </p:spTree>
    <p:extLst>
      <p:ext uri="{BB962C8B-B14F-4D97-AF65-F5344CB8AC3E}">
        <p14:creationId xmlns:p14="http://schemas.microsoft.com/office/powerpoint/2010/main" val="1705311851"/>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FEF05A7-7B1D-40DD-BD42-5F5B804558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3FEF05A7-7B1D-40DD-BD42-5F5B80455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ckground">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1414800"/>
            <a:ext cx="12191999" cy="4752975"/>
          </a:xfrm>
        </p:spPr>
        <p:txBody>
          <a:bodyPr lIns="626400" tIns="252000" rIns="144000" bIns="252000"/>
          <a:lstStyle>
            <a:lvl1pPr rtl="0">
              <a:defRPr/>
            </a:lvl1pPr>
          </a:lstStyle>
          <a:p>
            <a:r>
              <a:rPr lang="en-US"/>
              <a:t>Click icon to add picture</a:t>
            </a:r>
          </a:p>
        </p:txBody>
      </p:sp>
      <p:sp>
        <p:nvSpPr>
          <p:cNvPr id="2" name="Title">
            <a:extLst>
              <a:ext uri="{FF2B5EF4-FFF2-40B4-BE49-F238E27FC236}">
                <a16:creationId xmlns:a16="http://schemas.microsoft.com/office/drawing/2014/main" id="{C7ACECF9-920E-4760-B49D-8F2920649E50}"/>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Date">
            <a:extLst>
              <a:ext uri="{FF2B5EF4-FFF2-40B4-BE49-F238E27FC236}">
                <a16:creationId xmlns:a16="http://schemas.microsoft.com/office/drawing/2014/main" id="{39C3436A-6F82-487C-A217-F49F86FE6053}"/>
              </a:ext>
            </a:extLst>
          </p:cNvPr>
          <p:cNvSpPr>
            <a:spLocks noGrp="1"/>
          </p:cNvSpPr>
          <p:nvPr>
            <p:ph type="dt" sz="half" idx="11"/>
          </p:nvPr>
        </p:nvSpPr>
        <p:spPr/>
        <p:txBody>
          <a:bodyPr/>
          <a:lstStyle>
            <a:lvl1pPr rtl="0">
              <a:defRPr/>
            </a:lvl1pPr>
          </a:lstStyle>
          <a:p>
            <a:endParaRPr lang="en-GB"/>
          </a:p>
        </p:txBody>
      </p:sp>
      <p:sp>
        <p:nvSpPr>
          <p:cNvPr id="4" name="Footer">
            <a:extLst>
              <a:ext uri="{FF2B5EF4-FFF2-40B4-BE49-F238E27FC236}">
                <a16:creationId xmlns:a16="http://schemas.microsoft.com/office/drawing/2014/main" id="{C3C4D3B9-55F9-4A03-BFF5-63CAB8A8B0D5}"/>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6" name="Slide Number">
            <a:extLst>
              <a:ext uri="{FF2B5EF4-FFF2-40B4-BE49-F238E27FC236}">
                <a16:creationId xmlns:a16="http://schemas.microsoft.com/office/drawing/2014/main" id="{FAAF52BA-406D-4DB9-A8CF-6DBDD9150FFA}"/>
              </a:ext>
            </a:extLst>
          </p:cNvPr>
          <p:cNvSpPr>
            <a:spLocks noGrp="1"/>
          </p:cNvSpPr>
          <p:nvPr>
            <p:ph type="sldNum" sz="quarter" idx="13"/>
          </p:nvPr>
        </p:nvSpPr>
        <p:spPr/>
        <p:txBody>
          <a:bodyPr/>
          <a:lstStyle>
            <a:lvl1pPr rtl="0">
              <a:defRPr/>
            </a:lvl1pPr>
          </a:lstStyle>
          <a:p>
            <a:fld id="{E5B0116A-0D09-4E99-8C69-B4C15A5D8A2B}" type="slidenum">
              <a:rPr lang="en-GB" smtClean="0"/>
              <a:pPr/>
              <a:t>‹#›</a:t>
            </a:fld>
            <a:endParaRPr lang="en-GB"/>
          </a:p>
        </p:txBody>
      </p:sp>
    </p:spTree>
    <p:extLst>
      <p:ext uri="{BB962C8B-B14F-4D97-AF65-F5344CB8AC3E}">
        <p14:creationId xmlns:p14="http://schemas.microsoft.com/office/powerpoint/2010/main" val="11696336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F22E9D5-B56F-440F-9D39-61B846A42B5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AF22E9D5-B56F-440F-9D39-61B846A42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rtl="0">
              <a:defRPr>
                <a:solidFill>
                  <a:schemeClr val="tx1"/>
                </a:solidFill>
              </a:defRPr>
            </a:lvl1pPr>
          </a:lstStyle>
          <a:p>
            <a:r>
              <a:rPr lang="en-US"/>
              <a:t>Click on the icon to add a </a:t>
            </a:r>
            <a:br>
              <a:rPr lang="en-US"/>
            </a:br>
            <a:r>
              <a:rPr lang="en-US"/>
              <a:t>sufficiently high-contrast image </a:t>
            </a:r>
            <a:br>
              <a:rPr lang="en-US"/>
            </a:br>
            <a:r>
              <a:rPr lang="en-US"/>
              <a:t>so that the heading is easy to read.</a:t>
            </a:r>
          </a:p>
        </p:txBody>
      </p:sp>
      <p:sp>
        <p:nvSpPr>
          <p:cNvPr id="2" name="Title">
            <a:extLst>
              <a:ext uri="{FF2B5EF4-FFF2-40B4-BE49-F238E27FC236}">
                <a16:creationId xmlns:a16="http://schemas.microsoft.com/office/drawing/2014/main" id="{8B7679BF-476B-4936-B87E-CF0BADD38D6A}"/>
              </a:ext>
            </a:extLst>
          </p:cNvPr>
          <p:cNvSpPr>
            <a:spLocks noGrp="1"/>
          </p:cNvSpPr>
          <p:nvPr>
            <p:ph type="title" hasCustomPrompt="1"/>
          </p:nvPr>
        </p:nvSpPr>
        <p:spPr>
          <a:xfrm>
            <a:off x="6350" y="4798"/>
            <a:ext cx="6235700" cy="5873715"/>
          </a:xfrm>
          <a:noFill/>
        </p:spPr>
        <p:txBody>
          <a:bodyPr vert="horz" lIns="626400" tIns="900000" rIns="0" bIns="0" anchor="t"/>
          <a:lstStyle>
            <a:lvl1pPr algn="l" rtl="0">
              <a:defRPr sz="4400">
                <a:solidFill>
                  <a:schemeClr val="tx1"/>
                </a:solidFill>
              </a:defRPr>
            </a:lvl1pPr>
          </a:lstStyle>
          <a:p>
            <a:r>
              <a:rPr lang="en-US"/>
              <a:t>Big statement on a full size picture</a:t>
            </a:r>
          </a:p>
        </p:txBody>
      </p:sp>
      <p:sp>
        <p:nvSpPr>
          <p:cNvPr id="3" name="Date">
            <a:extLst>
              <a:ext uri="{FF2B5EF4-FFF2-40B4-BE49-F238E27FC236}">
                <a16:creationId xmlns:a16="http://schemas.microsoft.com/office/drawing/2014/main" id="{2F9AFBA0-B0CE-45B5-88B6-DE3218829193}"/>
              </a:ext>
            </a:extLst>
          </p:cNvPr>
          <p:cNvSpPr>
            <a:spLocks noGrp="1"/>
          </p:cNvSpPr>
          <p:nvPr>
            <p:ph type="dt" sz="half" idx="11"/>
          </p:nvPr>
        </p:nvSpPr>
        <p:spPr/>
        <p:txBody>
          <a:bodyPr/>
          <a:lstStyle>
            <a:lvl1pPr rtl="0">
              <a:defRPr/>
            </a:lvl1pPr>
          </a:lstStyle>
          <a:p>
            <a:endParaRPr lang="en-GB"/>
          </a:p>
        </p:txBody>
      </p:sp>
      <p:sp>
        <p:nvSpPr>
          <p:cNvPr id="4" name="Footer">
            <a:extLst>
              <a:ext uri="{FF2B5EF4-FFF2-40B4-BE49-F238E27FC236}">
                <a16:creationId xmlns:a16="http://schemas.microsoft.com/office/drawing/2014/main" id="{73228AD8-2A25-47E7-8F81-CD865320042B}"/>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6" name="Slide Number">
            <a:extLst>
              <a:ext uri="{FF2B5EF4-FFF2-40B4-BE49-F238E27FC236}">
                <a16:creationId xmlns:a16="http://schemas.microsoft.com/office/drawing/2014/main" id="{3B26BEEC-5011-47EF-BE73-4BA6F7F255AF}"/>
              </a:ext>
            </a:extLst>
          </p:cNvPr>
          <p:cNvSpPr>
            <a:spLocks noGrp="1"/>
          </p:cNvSpPr>
          <p:nvPr>
            <p:ph type="sldNum" sz="quarter" idx="13"/>
          </p:nvPr>
        </p:nvSpPr>
        <p:spPr/>
        <p:txBody>
          <a:bodyPr/>
          <a:lstStyle>
            <a:lvl1pPr rtl="0">
              <a:defRPr/>
            </a:lvl1pPr>
          </a:lstStyle>
          <a:p>
            <a:fld id="{E5B0116A-0D09-4E99-8C69-B4C15A5D8A2B}" type="slidenum">
              <a:rPr lang="en-GB" smtClean="0"/>
              <a:pPr/>
              <a:t>‹#›</a:t>
            </a:fld>
            <a:endParaRPr lang="en-GB"/>
          </a:p>
        </p:txBody>
      </p:sp>
    </p:spTree>
    <p:extLst>
      <p:ext uri="{BB962C8B-B14F-4D97-AF65-F5344CB8AC3E}">
        <p14:creationId xmlns:p14="http://schemas.microsoft.com/office/powerpoint/2010/main" val="94193538"/>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62E9305-0078-4D5A-8257-D02FB50694F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10" name="Objekt 9" hidden="1">
                        <a:extLst>
                          <a:ext uri="{FF2B5EF4-FFF2-40B4-BE49-F238E27FC236}">
                            <a16:creationId xmlns:a16="http://schemas.microsoft.com/office/drawing/2014/main" id="{762E9305-0078-4D5A-8257-D02FB50694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06F8B4D2-6F05-469C-8BE4-52BAC6D34B39}"/>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000" cy="4752975"/>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Image 1">
            <a:extLst>
              <a:ext uri="{FF2B5EF4-FFF2-40B4-BE49-F238E27FC236}">
                <a16:creationId xmlns:a16="http://schemas.microsoft.com/office/drawing/2014/main" id="{1F47DA09-C1B9-4F79-811C-47680DD13F06}"/>
              </a:ext>
            </a:extLst>
          </p:cNvPr>
          <p:cNvSpPr>
            <a:spLocks noGrp="1"/>
          </p:cNvSpPr>
          <p:nvPr>
            <p:ph type="pic" sz="quarter" idx="10" hasCustomPrompt="1"/>
          </p:nvPr>
        </p:nvSpPr>
        <p:spPr>
          <a:xfrm>
            <a:off x="6242049" y="1414800"/>
            <a:ext cx="5472000" cy="2305049"/>
          </a:xfrm>
        </p:spPr>
        <p:txBody>
          <a:bodyPr lIns="144000" tIns="144000" rIns="144000" bIns="144000"/>
          <a:lstStyle>
            <a:lvl1pPr rtl="0">
              <a:defRPr/>
            </a:lvl1pPr>
          </a:lstStyle>
          <a:p>
            <a:r>
              <a:rPr lang="en-US"/>
              <a:t>Click icon to add picture</a:t>
            </a:r>
          </a:p>
        </p:txBody>
      </p:sp>
      <p:sp>
        <p:nvSpPr>
          <p:cNvPr id="8" name="Image 2">
            <a:extLst>
              <a:ext uri="{FF2B5EF4-FFF2-40B4-BE49-F238E27FC236}">
                <a16:creationId xmlns:a16="http://schemas.microsoft.com/office/drawing/2014/main" id="{B62DCAC0-0A0A-4FD1-9E6A-DFB48F5EAA12}"/>
              </a:ext>
            </a:extLst>
          </p:cNvPr>
          <p:cNvSpPr>
            <a:spLocks noGrp="1"/>
          </p:cNvSpPr>
          <p:nvPr>
            <p:ph type="pic" sz="quarter" idx="11" hasCustomPrompt="1"/>
          </p:nvPr>
        </p:nvSpPr>
        <p:spPr>
          <a:xfrm>
            <a:off x="6242049" y="3862725"/>
            <a:ext cx="5472000" cy="2305050"/>
          </a:xfrm>
        </p:spPr>
        <p:txBody>
          <a:bodyPr lIns="144000" tIns="144000" rIns="144000" bIns="144000" anchor="b" anchorCtr="0"/>
          <a:lstStyle>
            <a:lvl1pPr rtl="0">
              <a:defRPr/>
            </a:lvl1pPr>
          </a:lstStyle>
          <a:p>
            <a:r>
              <a:rPr lang="en-US"/>
              <a:t>Click icon to add picture</a:t>
            </a:r>
          </a:p>
        </p:txBody>
      </p:sp>
      <p:sp>
        <p:nvSpPr>
          <p:cNvPr id="4" name="Date">
            <a:extLst>
              <a:ext uri="{FF2B5EF4-FFF2-40B4-BE49-F238E27FC236}">
                <a16:creationId xmlns:a16="http://schemas.microsoft.com/office/drawing/2014/main" id="{1FCABBC9-3B39-4120-9E36-C1B10AF3BA65}"/>
              </a:ext>
            </a:extLst>
          </p:cNvPr>
          <p:cNvSpPr>
            <a:spLocks noGrp="1"/>
          </p:cNvSpPr>
          <p:nvPr>
            <p:ph type="dt" sz="half" idx="1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7C140787-C6C2-478B-AC12-0F161894B6FE}"/>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7" name="Slide Number">
            <a:extLst>
              <a:ext uri="{FF2B5EF4-FFF2-40B4-BE49-F238E27FC236}">
                <a16:creationId xmlns:a16="http://schemas.microsoft.com/office/drawing/2014/main" id="{B1562448-5834-43F6-984A-69EC84B3453C}"/>
              </a:ext>
            </a:extLst>
          </p:cNvPr>
          <p:cNvSpPr>
            <a:spLocks noGrp="1"/>
          </p:cNvSpPr>
          <p:nvPr>
            <p:ph type="sldNum" sz="quarter" idx="14"/>
          </p:nvPr>
        </p:nvSpPr>
        <p:spPr/>
        <p:txBody>
          <a:bodyPr/>
          <a:lstStyle>
            <a:lvl1pPr rtl="0">
              <a:defRPr/>
            </a:lvl1pPr>
          </a:lstStyle>
          <a:p>
            <a:fld id="{E5B0116A-0D09-4E99-8C69-B4C15A5D8A2B}" type="slidenum">
              <a:rPr lang="en-GB" smtClean="0"/>
              <a:pPr/>
              <a:t>‹#›</a:t>
            </a:fld>
            <a:endParaRPr lang="en-GB"/>
          </a:p>
        </p:txBody>
      </p:sp>
    </p:spTree>
    <p:extLst>
      <p:ext uri="{BB962C8B-B14F-4D97-AF65-F5344CB8AC3E}">
        <p14:creationId xmlns:p14="http://schemas.microsoft.com/office/powerpoint/2010/main" val="2501163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 Index w/ optional cut out">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5CB20A2-445F-4E74-BB7D-D6E2ED9AC9F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kt 9" hidden="1">
                        <a:extLst>
                          <a:ext uri="{FF2B5EF4-FFF2-40B4-BE49-F238E27FC236}">
                            <a16:creationId xmlns:a16="http://schemas.microsoft.com/office/drawing/2014/main" id="{75CB20A2-445F-4E74-BB7D-D6E2ED9AC9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ackground">
            <a:extLst>
              <a:ext uri="{FF2B5EF4-FFF2-40B4-BE49-F238E27FC236}">
                <a16:creationId xmlns:a16="http://schemas.microsoft.com/office/drawing/2014/main" id="{1E1335ED-D1C6-4433-AD26-79A9E5F858A6}"/>
              </a:ext>
            </a:extLst>
          </p:cNvPr>
          <p:cNvSpPr/>
          <p:nvPr userDrawn="1"/>
        </p:nvSpPr>
        <p:spPr bwMode="hidden">
          <a:xfrm>
            <a:off x="-2" y="0"/>
            <a:ext cx="12192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able of contents">
            <a:extLst>
              <a:ext uri="{FF2B5EF4-FFF2-40B4-BE49-F238E27FC236}">
                <a16:creationId xmlns:a16="http://schemas.microsoft.com/office/drawing/2014/main" id="{989931F3-BF65-40DB-9BE0-80167D2EBFEC}"/>
              </a:ext>
            </a:extLst>
          </p:cNvPr>
          <p:cNvSpPr>
            <a:spLocks noGrp="1"/>
          </p:cNvSpPr>
          <p:nvPr>
            <p:ph type="title" hasCustomPrompt="1"/>
          </p:nvPr>
        </p:nvSpPr>
        <p:spPr/>
        <p:txBody>
          <a:bodyPr vert="horz"/>
          <a:lstStyle>
            <a:lvl1pPr rtl="0">
              <a:defRPr>
                <a:solidFill>
                  <a:schemeClr val="tx1"/>
                </a:solidFill>
              </a:defRPr>
            </a:lvl1pPr>
          </a:lstStyle>
          <a:p>
            <a:r>
              <a:rPr lang="en-US"/>
              <a:t>Table of contents</a:t>
            </a:r>
          </a:p>
        </p:txBody>
      </p:sp>
      <p:sp>
        <p:nvSpPr>
          <p:cNvPr id="8" name="Table"/>
          <p:cNvSpPr>
            <a:spLocks noGrp="1"/>
          </p:cNvSpPr>
          <p:nvPr>
            <p:ph type="tbl" sz="quarter" idx="10" hasCustomPrompt="1"/>
          </p:nvPr>
        </p:nvSpPr>
        <p:spPr>
          <a:xfrm>
            <a:off x="627062" y="1522800"/>
            <a:ext cx="8208000" cy="4644000"/>
          </a:xfrm>
        </p:spPr>
        <p:txBody>
          <a:bodyPr/>
          <a:lstStyle>
            <a:lvl1pPr rtl="0">
              <a:defRPr>
                <a:solidFill>
                  <a:schemeClr val="tx1"/>
                </a:solidFill>
              </a:defRPr>
            </a:lvl1pPr>
          </a:lstStyle>
          <a:p>
            <a:r>
              <a:rPr lang="en-US"/>
              <a:t>Table</a:t>
            </a:r>
          </a:p>
        </p:txBody>
      </p:sp>
      <p:sp>
        <p:nvSpPr>
          <p:cNvPr id="3" name="Date Placeholder 2">
            <a:extLst>
              <a:ext uri="{FF2B5EF4-FFF2-40B4-BE49-F238E27FC236}">
                <a16:creationId xmlns:a16="http://schemas.microsoft.com/office/drawing/2014/main" id="{EF099B4D-DDCB-4B71-962C-158943057CF1}"/>
              </a:ext>
            </a:extLst>
          </p:cNvPr>
          <p:cNvSpPr>
            <a:spLocks noGrp="1"/>
          </p:cNvSpPr>
          <p:nvPr>
            <p:ph type="dt" sz="half" idx="11"/>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D1B37B76-DD37-417C-9B4B-F747432117F8}"/>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7" name="Slide Number Placeholder 6">
            <a:extLst>
              <a:ext uri="{FF2B5EF4-FFF2-40B4-BE49-F238E27FC236}">
                <a16:creationId xmlns:a16="http://schemas.microsoft.com/office/drawing/2014/main" id="{36F01958-72C1-44DF-95B7-D4A951EFA292}"/>
              </a:ext>
            </a:extLst>
          </p:cNvPr>
          <p:cNvSpPr>
            <a:spLocks noGrp="1"/>
          </p:cNvSpPr>
          <p:nvPr>
            <p:ph type="sldNum" sz="quarter" idx="13"/>
          </p:nvPr>
        </p:nvSpPr>
        <p:spPr/>
        <p:txBody>
          <a:bodyPr/>
          <a:lstStyle>
            <a:lvl1pPr rtl="0">
              <a:defRPr/>
            </a:lvl1pPr>
          </a:lstStyle>
          <a:p>
            <a:fld id="{E5B0116A-0D09-4E99-8C69-B4C15A5D8A2B}" type="slidenum">
              <a:rPr lang="en-GB" smtClean="0"/>
              <a:pPr/>
              <a:t>‹#›</a:t>
            </a:fld>
            <a:endParaRPr lang="en-GB"/>
          </a:p>
        </p:txBody>
      </p:sp>
    </p:spTree>
    <p:extLst>
      <p:ext uri="{BB962C8B-B14F-4D97-AF65-F5344CB8AC3E}">
        <p14:creationId xmlns:p14="http://schemas.microsoft.com/office/powerpoint/2010/main" val="1580109285"/>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picture service 2">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31E311-78F5-4D16-AFFF-C551D1B02A9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7431E311-78F5-4D16-AFFF-C551D1B0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63F9E680-06B4-4505-95CD-F907D5EE720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16" name="Grafik 15" descr="Ein Bild, das Person, Outdoorobjekt enthält.&#10;&#10;Automatisch generierte Beschreibung">
            <a:extLst>
              <a:ext uri="{FF2B5EF4-FFF2-40B4-BE49-F238E27FC236}">
                <a16:creationId xmlns:a16="http://schemas.microsoft.com/office/drawing/2014/main" id="{E61C02C0-8993-4A0D-BACA-A07EAF44099F}"/>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Grafik 11">
            <a:extLst>
              <a:ext uri="{FF2B5EF4-FFF2-40B4-BE49-F238E27FC236}">
                <a16:creationId xmlns:a16="http://schemas.microsoft.com/office/drawing/2014/main" id="{882EED4D-E622-45D8-9367-A7F60B95482E}"/>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Placeholder 4">
            <a:extLst>
              <a:ext uri="{FF2B5EF4-FFF2-40B4-BE49-F238E27FC236}">
                <a16:creationId xmlns:a16="http://schemas.microsoft.com/office/drawing/2014/main" id="{EEDB73C7-AC84-4752-8A56-05C5A6A1CAD3}"/>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Restricted © Siemens Gamesa Renewable Energy, YYYY | Author | Department</a:t>
            </a:r>
            <a:endParaRPr lang="en-GB"/>
          </a:p>
        </p:txBody>
      </p:sp>
    </p:spTree>
    <p:extLst>
      <p:ext uri="{BB962C8B-B14F-4D97-AF65-F5344CB8AC3E}">
        <p14:creationId xmlns:p14="http://schemas.microsoft.com/office/powerpoint/2010/main" val="10552232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picture offshore">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EDC5DA7-0860-44F1-900E-BC25A247EB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2EDC5DA7-0860-44F1-900E-BC25A247E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B4D0632F-141D-4FA9-8837-22222017C89A}"/>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51" name="Grafik 50" descr="Ein Bild, das Wasser, dunkel enthält.&#10;&#10;Automatisch generierte Beschreibung">
            <a:extLst>
              <a:ext uri="{FF2B5EF4-FFF2-40B4-BE49-F238E27FC236}">
                <a16:creationId xmlns:a16="http://schemas.microsoft.com/office/drawing/2014/main" id="{5BC57436-EB31-4E4C-B375-8AA4FA79D816}"/>
              </a:ext>
            </a:extLst>
          </p:cNvPr>
          <p:cNvPicPr>
            <a:picLocks noChangeAspect="1"/>
          </p:cNvPicPr>
          <p:nvPr userDrawn="1"/>
        </p:nvPicPr>
        <p:blipFill rotWithShape="1">
          <a:blip r:embed="rId5"/>
          <a:srcRect t="-8889" b="8889"/>
          <a:stretch/>
        </p:blipFill>
        <p:spPr>
          <a:xfrm>
            <a:off x="0" y="0"/>
            <a:ext cx="121920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pic>
        <p:nvPicPr>
          <p:cNvPr id="47" name="Grafik 46">
            <a:extLst>
              <a:ext uri="{FF2B5EF4-FFF2-40B4-BE49-F238E27FC236}">
                <a16:creationId xmlns:a16="http://schemas.microsoft.com/office/drawing/2014/main" id="{C90DF529-7913-4905-BE38-A4E3671FC34C}"/>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9" name="Fußzeilenplatzhalter 8">
            <a:extLst>
              <a:ext uri="{FF2B5EF4-FFF2-40B4-BE49-F238E27FC236}">
                <a16:creationId xmlns:a16="http://schemas.microsoft.com/office/drawing/2014/main" id="{1F06EBD6-B0E4-4911-8977-A9FC618D1630}"/>
              </a:ext>
            </a:extLst>
          </p:cNvPr>
          <p:cNvSpPr>
            <a:spLocks noGrp="1"/>
          </p:cNvSpPr>
          <p:nvPr>
            <p:ph type="ftr" sz="quarter" idx="11"/>
          </p:nvPr>
        </p:nvSpPr>
        <p:spPr/>
        <p:txBody>
          <a:bodyPr rIns="482400"/>
          <a:lstStyle/>
          <a:p>
            <a:r>
              <a:rPr lang="de-DE" err="1"/>
              <a:t>Restricted</a:t>
            </a:r>
            <a:r>
              <a:rPr lang="de-DE"/>
              <a:t> © Siemens Gamesa </a:t>
            </a:r>
            <a:r>
              <a:rPr lang="de-DE" err="1"/>
              <a:t>Renewable</a:t>
            </a:r>
            <a:r>
              <a:rPr lang="de-DE"/>
              <a:t> Energy, YYYY | </a:t>
            </a:r>
            <a:r>
              <a:rPr lang="de-DE" err="1"/>
              <a:t>Author</a:t>
            </a:r>
            <a:r>
              <a:rPr lang="de-DE"/>
              <a:t> | Department</a:t>
            </a:r>
            <a:endParaRPr lang="en-GB"/>
          </a:p>
        </p:txBody>
      </p:sp>
    </p:spTree>
    <p:extLst>
      <p:ext uri="{BB962C8B-B14F-4D97-AF65-F5344CB8AC3E}">
        <p14:creationId xmlns:p14="http://schemas.microsoft.com/office/powerpoint/2010/main" val="172281372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719327" y="5661659"/>
            <a:ext cx="2592832" cy="810768"/>
          </a:xfrm>
          <a:prstGeom prst="rect">
            <a:avLst/>
          </a:prstGeom>
        </p:spPr>
      </p:pic>
      <p:sp>
        <p:nvSpPr>
          <p:cNvPr id="2" name="Holder 2"/>
          <p:cNvSpPr>
            <a:spLocks noGrp="1"/>
          </p:cNvSpPr>
          <p:nvPr>
            <p:ph type="title"/>
          </p:nvPr>
        </p:nvSpPr>
        <p:spPr/>
        <p:txBody>
          <a:bodyPr lIns="0" tIns="0" rIns="0" bIns="0"/>
          <a:lstStyle>
            <a:lvl1pPr>
              <a:defRPr sz="1800" b="0" i="1">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6858000">
                <a:moveTo>
                  <a:pt x="9144000" y="0"/>
                </a:moveTo>
                <a:lnTo>
                  <a:pt x="0" y="0"/>
                </a:lnTo>
                <a:lnTo>
                  <a:pt x="0" y="6858000"/>
                </a:lnTo>
                <a:lnTo>
                  <a:pt x="9144000" y="6858000"/>
                </a:lnTo>
                <a:lnTo>
                  <a:pt x="9144000" y="0"/>
                </a:lnTo>
                <a:close/>
              </a:path>
            </a:pathLst>
          </a:custGeom>
          <a:solidFill>
            <a:srgbClr val="0089C8"/>
          </a:solidFill>
        </p:spPr>
        <p:txBody>
          <a:bodyPr wrap="square" lIns="0" tIns="0" rIns="0" bIns="0" rtlCol="0"/>
          <a:lstStyle/>
          <a:p>
            <a:endParaRPr sz="1800"/>
          </a:p>
        </p:txBody>
      </p:sp>
      <p:pic>
        <p:nvPicPr>
          <p:cNvPr id="17" name="bg object 17"/>
          <p:cNvPicPr/>
          <p:nvPr/>
        </p:nvPicPr>
        <p:blipFill>
          <a:blip r:embed="rId2" cstate="print"/>
          <a:stretch>
            <a:fillRect/>
          </a:stretch>
        </p:blipFill>
        <p:spPr>
          <a:xfrm>
            <a:off x="719327" y="5661659"/>
            <a:ext cx="2592832" cy="810768"/>
          </a:xfrm>
          <a:prstGeom prst="rect">
            <a:avLst/>
          </a:prstGeom>
        </p:spPr>
      </p:pic>
      <p:sp>
        <p:nvSpPr>
          <p:cNvPr id="2" name="Holder 2"/>
          <p:cNvSpPr>
            <a:spLocks noGrp="1"/>
          </p:cNvSpPr>
          <p:nvPr>
            <p:ph type="title"/>
          </p:nvPr>
        </p:nvSpPr>
        <p:spPr/>
        <p:txBody>
          <a:bodyPr lIns="0" tIns="0" rIns="0" bIns="0"/>
          <a:lstStyle>
            <a:lvl1pPr>
              <a:defRPr sz="1800" b="0" i="1">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719327" y="5661659"/>
            <a:ext cx="2592832" cy="810768"/>
          </a:xfrm>
          <a:prstGeom prst="rect">
            <a:avLst/>
          </a:prstGeom>
        </p:spPr>
      </p:pic>
      <p:sp>
        <p:nvSpPr>
          <p:cNvPr id="2" name="Holder 2"/>
          <p:cNvSpPr>
            <a:spLocks noGrp="1"/>
          </p:cNvSpPr>
          <p:nvPr>
            <p:ph type="title"/>
          </p:nvPr>
        </p:nvSpPr>
        <p:spPr/>
        <p:txBody>
          <a:bodyPr lIns="0" tIns="0" rIns="0" bIns="0"/>
          <a:lstStyle>
            <a:lvl1pPr>
              <a:defRPr sz="1800" b="0" i="1">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12566C2-968D-4B63-AE75-6D1A7AB2A812}"/>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72E2F31B-9603-4430-8D71-24CDED5992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p>
        </p:txBody>
      </p:sp>
      <p:sp>
        <p:nvSpPr>
          <p:cNvPr id="4" name="Marcador de fecha 3">
            <a:extLst>
              <a:ext uri="{FF2B5EF4-FFF2-40B4-BE49-F238E27FC236}">
                <a16:creationId xmlns:a16="http://schemas.microsoft.com/office/drawing/2014/main" id="{AFA63FA1-A4D8-4C37-A2DF-275CE8725864}"/>
              </a:ext>
            </a:extLst>
          </p:cNvPr>
          <p:cNvSpPr>
            <a:spLocks noGrp="1"/>
          </p:cNvSpPr>
          <p:nvPr>
            <p:ph type="dt" sz="half" idx="10"/>
          </p:nvPr>
        </p:nvSpPr>
        <p:spPr/>
        <p:txBody>
          <a:bodyPr/>
          <a:lstStyle/>
          <a:p>
            <a:fld id="{614215A8-C95B-43F5-97D7-68DD4BBD0514}" type="datetimeFigureOut">
              <a:rPr lang="es-ES" smtClean="0"/>
              <a:t>29/09/2024</a:t>
            </a:fld>
            <a:endParaRPr lang="es-ES"/>
          </a:p>
        </p:txBody>
      </p:sp>
      <p:sp>
        <p:nvSpPr>
          <p:cNvPr id="5" name="Marcador de pie de página 4">
            <a:extLst>
              <a:ext uri="{FF2B5EF4-FFF2-40B4-BE49-F238E27FC236}">
                <a16:creationId xmlns:a16="http://schemas.microsoft.com/office/drawing/2014/main" id="{8659A1C9-574F-4E47-A997-6E6C7090015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6CF80009-5A0C-4F1C-A122-8D7F59474BD5}"/>
              </a:ext>
            </a:extLst>
          </p:cNvPr>
          <p:cNvSpPr>
            <a:spLocks noGrp="1"/>
          </p:cNvSpPr>
          <p:nvPr>
            <p:ph type="sldNum" sz="quarter" idx="12"/>
          </p:nvPr>
        </p:nvSpPr>
        <p:spPr/>
        <p:txBody>
          <a:bodyPr/>
          <a:lstStyle/>
          <a:p>
            <a:fld id="{879950EE-5033-478A-8124-8FCA662AFE3D}" type="slidenum">
              <a:rPr lang="es-ES" smtClean="0"/>
              <a:t>‹#›</a:t>
            </a:fld>
            <a:endParaRPr lang="es-ES"/>
          </a:p>
        </p:txBody>
      </p:sp>
    </p:spTree>
    <p:extLst>
      <p:ext uri="{BB962C8B-B14F-4D97-AF65-F5344CB8AC3E}">
        <p14:creationId xmlns:p14="http://schemas.microsoft.com/office/powerpoint/2010/main" val="35741795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C29B1A-743D-D862-9BAB-88565744390B}"/>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62B73A35-1CF8-77F9-19BE-796805B8D420}"/>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06922C45-502B-FF22-32F0-6996210744F4}"/>
              </a:ext>
            </a:extLst>
          </p:cNvPr>
          <p:cNvSpPr>
            <a:spLocks noGrp="1"/>
          </p:cNvSpPr>
          <p:nvPr>
            <p:ph type="dt" sz="half" idx="10"/>
          </p:nvPr>
        </p:nvSpPr>
        <p:spPr/>
        <p:txBody>
          <a:bodyPr/>
          <a:lstStyle/>
          <a:p>
            <a:fld id="{49EAFCFC-115A-4CF5-976C-EA1A26D98CA8}" type="datetimeFigureOut">
              <a:rPr lang="es-ES" smtClean="0"/>
              <a:t>29/09/2024</a:t>
            </a:fld>
            <a:endParaRPr lang="es-ES"/>
          </a:p>
        </p:txBody>
      </p:sp>
      <p:sp>
        <p:nvSpPr>
          <p:cNvPr id="5" name="Marcador de pie de página 4">
            <a:extLst>
              <a:ext uri="{FF2B5EF4-FFF2-40B4-BE49-F238E27FC236}">
                <a16:creationId xmlns:a16="http://schemas.microsoft.com/office/drawing/2014/main" id="{A326B230-B8AC-9053-28BC-AB4DDE60D71B}"/>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C16D5AD2-468E-49AA-B6C2-36A6E471FFC3}"/>
              </a:ext>
            </a:extLst>
          </p:cNvPr>
          <p:cNvSpPr>
            <a:spLocks noGrp="1"/>
          </p:cNvSpPr>
          <p:nvPr>
            <p:ph type="sldNum" sz="quarter" idx="12"/>
          </p:nvPr>
        </p:nvSpPr>
        <p:spPr/>
        <p:txBody>
          <a:bodyPr/>
          <a:lstStyle/>
          <a:p>
            <a:fld id="{C494A95D-F854-44AA-B8D1-55642FC15114}" type="slidenum">
              <a:rPr lang="es-ES" smtClean="0"/>
              <a:t>‹#›</a:t>
            </a:fld>
            <a:endParaRPr lang="es-ES"/>
          </a:p>
        </p:txBody>
      </p:sp>
    </p:spTree>
    <p:extLst>
      <p:ext uri="{BB962C8B-B14F-4D97-AF65-F5344CB8AC3E}">
        <p14:creationId xmlns:p14="http://schemas.microsoft.com/office/powerpoint/2010/main" val="11699476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0C74170-F1C7-8164-55C7-F03F4FEE3843}"/>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93260B6C-85A8-B6AC-6132-83CF6DBB978C}"/>
              </a:ext>
            </a:extLst>
          </p:cNvPr>
          <p:cNvSpPr>
            <a:spLocks noGrp="1"/>
          </p:cNvSpPr>
          <p:nvPr>
            <p:ph type="dt" sz="half" idx="10"/>
          </p:nvPr>
        </p:nvSpPr>
        <p:spPr/>
        <p:txBody>
          <a:bodyPr/>
          <a:lstStyle/>
          <a:p>
            <a:fld id="{49EAFCFC-115A-4CF5-976C-EA1A26D98CA8}" type="datetimeFigureOut">
              <a:rPr lang="es-ES" smtClean="0"/>
              <a:t>29/09/2024</a:t>
            </a:fld>
            <a:endParaRPr lang="es-ES"/>
          </a:p>
        </p:txBody>
      </p:sp>
      <p:sp>
        <p:nvSpPr>
          <p:cNvPr id="4" name="Marcador de pie de página 3">
            <a:extLst>
              <a:ext uri="{FF2B5EF4-FFF2-40B4-BE49-F238E27FC236}">
                <a16:creationId xmlns:a16="http://schemas.microsoft.com/office/drawing/2014/main" id="{574A75ED-AC50-4AF8-786F-A84AAD37E160}"/>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78C3E201-9199-79BE-BC38-5D7A4CFFC25C}"/>
              </a:ext>
            </a:extLst>
          </p:cNvPr>
          <p:cNvSpPr>
            <a:spLocks noGrp="1"/>
          </p:cNvSpPr>
          <p:nvPr>
            <p:ph type="sldNum" sz="quarter" idx="12"/>
          </p:nvPr>
        </p:nvSpPr>
        <p:spPr/>
        <p:txBody>
          <a:bodyPr/>
          <a:lstStyle/>
          <a:p>
            <a:fld id="{C494A95D-F854-44AA-B8D1-55642FC15114}" type="slidenum">
              <a:rPr lang="es-ES" smtClean="0"/>
              <a:t>‹#›</a:t>
            </a:fld>
            <a:endParaRPr lang="es-ES"/>
          </a:p>
        </p:txBody>
      </p:sp>
    </p:spTree>
    <p:extLst>
      <p:ext uri="{BB962C8B-B14F-4D97-AF65-F5344CB8AC3E}">
        <p14:creationId xmlns:p14="http://schemas.microsoft.com/office/powerpoint/2010/main" val="7504479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2">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0003BF5-7A5D-4A8D-A2F1-91ECA16977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20003BF5-7A5D-4A8D-A2F1-91ECA16977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527AB417-0DE7-4DB4-AD6F-DC874774765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vert="horz" lIns="0" tIns="0" bIns="0" anchor="b"/>
          <a:lstStyle>
            <a:lvl1pPr algn="l" rtl="0">
              <a:defRPr sz="4400">
                <a:solidFill>
                  <a:schemeClr val="tx1"/>
                </a:solidFill>
              </a:defRPr>
            </a:lvl1pPr>
          </a:lstStyle>
          <a:p>
            <a:r>
              <a:rPr lang="en-US" noProof="0"/>
              <a:t>Chapter divider</a:t>
            </a:r>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3" name="Date Placeholder 2">
            <a:extLst>
              <a:ext uri="{FF2B5EF4-FFF2-40B4-BE49-F238E27FC236}">
                <a16:creationId xmlns:a16="http://schemas.microsoft.com/office/drawing/2014/main" id="{E1283E88-EAE1-415C-A5B2-0A2B1E46758A}"/>
              </a:ext>
            </a:extLst>
          </p:cNvPr>
          <p:cNvSpPr>
            <a:spLocks noGrp="1"/>
          </p:cNvSpPr>
          <p:nvPr>
            <p:ph type="dt" sz="half" idx="10"/>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CF7D335C-B372-4CBB-B1BD-744481B4331F}"/>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Restricted © Siemens Gamesa Renewable Energy, YYYY | Author | Department</a:t>
            </a:r>
            <a:endParaRPr lang="en-GB"/>
          </a:p>
        </p:txBody>
      </p:sp>
      <p:sp>
        <p:nvSpPr>
          <p:cNvPr id="5" name="Slide Number Placeholder 4">
            <a:extLst>
              <a:ext uri="{FF2B5EF4-FFF2-40B4-BE49-F238E27FC236}">
                <a16:creationId xmlns:a16="http://schemas.microsoft.com/office/drawing/2014/main" id="{FC98D2EF-F23B-41C5-ABCD-9712A9A8CFEA}"/>
              </a:ext>
            </a:extLst>
          </p:cNvPr>
          <p:cNvSpPr>
            <a:spLocks noGrp="1"/>
          </p:cNvSpPr>
          <p:nvPr>
            <p:ph type="sldNum" sz="quarter" idx="12"/>
          </p:nvPr>
        </p:nvSpPr>
        <p:spPr/>
        <p:txBody>
          <a:bodyPr/>
          <a:lstStyle>
            <a:lvl1pPr rtl="0">
              <a:defRPr/>
            </a:lvl1pPr>
          </a:lstStyle>
          <a:p>
            <a:fld id="{E5B0116A-0D09-4E99-8C69-B4C15A5D8A2B}" type="slidenum">
              <a:rPr lang="en-GB" smtClean="0"/>
              <a:pPr/>
              <a:t>‹#›</a:t>
            </a:fld>
            <a:endParaRPr lang="en-GB"/>
          </a:p>
        </p:txBody>
      </p:sp>
      <p:pic>
        <p:nvPicPr>
          <p:cNvPr id="14" name="Grafik 13">
            <a:extLst>
              <a:ext uri="{FF2B5EF4-FFF2-40B4-BE49-F238E27FC236}">
                <a16:creationId xmlns:a16="http://schemas.microsoft.com/office/drawing/2014/main" id="{022D7EE0-943F-4FF0-883F-2A11A4021848}"/>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3003816951"/>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ags" Target="../tags/tag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2.emf"/><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7BB4"/>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6858000">
                <a:moveTo>
                  <a:pt x="9144000" y="0"/>
                </a:moveTo>
                <a:lnTo>
                  <a:pt x="0" y="0"/>
                </a:lnTo>
                <a:lnTo>
                  <a:pt x="0" y="6858000"/>
                </a:lnTo>
                <a:lnTo>
                  <a:pt x="9144000" y="6858000"/>
                </a:lnTo>
                <a:lnTo>
                  <a:pt x="9144000" y="0"/>
                </a:lnTo>
                <a:close/>
              </a:path>
            </a:pathLst>
          </a:custGeom>
          <a:solidFill>
            <a:srgbClr val="0089C8"/>
          </a:solidFill>
        </p:spPr>
        <p:txBody>
          <a:bodyPr wrap="square" lIns="0" tIns="0" rIns="0" bIns="0" rtlCol="0"/>
          <a:lstStyle/>
          <a:p>
            <a:endParaRPr sz="1800"/>
          </a:p>
        </p:txBody>
      </p:sp>
      <p:sp>
        <p:nvSpPr>
          <p:cNvPr id="2" name="Holder 2"/>
          <p:cNvSpPr>
            <a:spLocks noGrp="1"/>
          </p:cNvSpPr>
          <p:nvPr>
            <p:ph type="title"/>
          </p:nvPr>
        </p:nvSpPr>
        <p:spPr>
          <a:xfrm>
            <a:off x="1453728" y="444246"/>
            <a:ext cx="9284545" cy="276999"/>
          </a:xfrm>
          <a:prstGeom prst="rect">
            <a:avLst/>
          </a:prstGeom>
        </p:spPr>
        <p:txBody>
          <a:bodyPr wrap="square" lIns="0" tIns="0" rIns="0" bIns="0">
            <a:spAutoFit/>
          </a:bodyPr>
          <a:lstStyle>
            <a:lvl1pPr>
              <a:defRPr sz="1800" b="0" i="1">
                <a:solidFill>
                  <a:schemeClr val="bg1"/>
                </a:solidFill>
                <a:latin typeface="Calibri"/>
                <a:cs typeface="Calibri"/>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29/2024</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848" r:id="rId2"/>
    <p:sldLayoutId id="214748384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B6FA88A9-C5CD-4697-87FC-213A19285C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F20BE037-783A-4A5C-AA15-7F7AE0F530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930B082-9932-46D9-A045-9E75D4EC52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4215A8-C95B-43F5-97D7-68DD4BBD0514}" type="datetimeFigureOut">
              <a:rPr lang="es-ES" smtClean="0"/>
              <a:t>29/09/2024</a:t>
            </a:fld>
            <a:endParaRPr lang="es-ES"/>
          </a:p>
        </p:txBody>
      </p:sp>
      <p:sp>
        <p:nvSpPr>
          <p:cNvPr id="5" name="Marcador de pie de página 4">
            <a:extLst>
              <a:ext uri="{FF2B5EF4-FFF2-40B4-BE49-F238E27FC236}">
                <a16:creationId xmlns:a16="http://schemas.microsoft.com/office/drawing/2014/main" id="{693864EB-A630-4C9A-9E23-E551F34DA9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62040101-7AA2-47FC-BB99-DB8A523B91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9950EE-5033-478A-8124-8FCA662AFE3D}" type="slidenum">
              <a:rPr lang="es-ES" smtClean="0"/>
              <a:t>‹#›</a:t>
            </a:fld>
            <a:endParaRPr lang="es-ES"/>
          </a:p>
        </p:txBody>
      </p:sp>
    </p:spTree>
    <p:extLst>
      <p:ext uri="{BB962C8B-B14F-4D97-AF65-F5344CB8AC3E}">
        <p14:creationId xmlns:p14="http://schemas.microsoft.com/office/powerpoint/2010/main" val="3151038701"/>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C8B0A9F9-8724-DB38-1BB4-70203AA2E1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3F114218-3F0B-2576-E473-92F23A9668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1E31A9A5-59BB-7867-7067-13A4511CBFB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EAFCFC-115A-4CF5-976C-EA1A26D98CA8}" type="datetimeFigureOut">
              <a:rPr lang="es-ES" smtClean="0"/>
              <a:t>29/09/2024</a:t>
            </a:fld>
            <a:endParaRPr lang="es-ES"/>
          </a:p>
        </p:txBody>
      </p:sp>
      <p:sp>
        <p:nvSpPr>
          <p:cNvPr id="5" name="Marcador de pie de página 4">
            <a:extLst>
              <a:ext uri="{FF2B5EF4-FFF2-40B4-BE49-F238E27FC236}">
                <a16:creationId xmlns:a16="http://schemas.microsoft.com/office/drawing/2014/main" id="{43B5E6C7-D8DC-490A-BFFF-56940B928F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83739D21-31C8-DCD1-B044-5BB130DAF7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94A95D-F854-44AA-B8D1-55642FC15114}" type="slidenum">
              <a:rPr lang="es-ES" smtClean="0"/>
              <a:t>‹#›</a:t>
            </a:fld>
            <a:endParaRPr lang="es-ES"/>
          </a:p>
        </p:txBody>
      </p:sp>
    </p:spTree>
    <p:extLst>
      <p:ext uri="{BB962C8B-B14F-4D97-AF65-F5344CB8AC3E}">
        <p14:creationId xmlns:p14="http://schemas.microsoft.com/office/powerpoint/2010/main" val="2209645531"/>
      </p:ext>
    </p:extLst>
  </p:cSld>
  <p:clrMap bg1="lt1" tx1="dk1" bg2="lt2" tx2="dk2" accent1="accent1" accent2="accent2" accent3="accent3" accent4="accent4" accent5="accent5" accent6="accent6" hlink="hlink" folHlink="folHlink"/>
  <p:sldLayoutIdLst>
    <p:sldLayoutId id="2147483845" r:id="rId1"/>
    <p:sldLayoutId id="214748384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1D34DD3-FFD7-4074-A584-E60C01961374}"/>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6" imgH="306" progId="TCLayout.ActiveDocument.1">
                  <p:embed/>
                </p:oleObj>
              </mc:Choice>
              <mc:Fallback>
                <p:oleObj name="think-cell Slide" r:id="rId14" imgW="306" imgH="306" progId="TCLayout.ActiveDocument.1">
                  <p:embed/>
                  <p:pic>
                    <p:nvPicPr>
                      <p:cNvPr id="8" name="Objekt 7" hidden="1">
                        <a:extLst>
                          <a:ext uri="{FF2B5EF4-FFF2-40B4-BE49-F238E27FC236}">
                            <a16:creationId xmlns:a16="http://schemas.microsoft.com/office/drawing/2014/main" id="{41D34DD3-FFD7-4074-A584-E60C0196137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DF6C5D22-2D05-436C-B3FF-684C0326B5DB}"/>
              </a:ext>
            </a:extLst>
          </p:cNvPr>
          <p:cNvSpPr>
            <a:spLocks noGrp="1"/>
          </p:cNvSpPr>
          <p:nvPr>
            <p:ph type="title"/>
          </p:nvPr>
        </p:nvSpPr>
        <p:spPr>
          <a:xfrm>
            <a:off x="1" y="1"/>
            <a:ext cx="9659938" cy="1414800"/>
          </a:xfrm>
          <a:prstGeom prst="rect">
            <a:avLst/>
          </a:prstGeom>
        </p:spPr>
        <p:txBody>
          <a:bodyPr vert="horz" lIns="626400" tIns="378000" rIns="0" bIns="0" rtlCol="0" anchor="t" anchorCtr="0">
            <a:noAutofit/>
          </a:bodyPr>
          <a:lstStyle/>
          <a:p>
            <a:r>
              <a:rPr lang="en-US" noProof="0"/>
              <a:t>Click to edit Master title style</a:t>
            </a:r>
          </a:p>
        </p:txBody>
      </p:sp>
      <p:sp>
        <p:nvSpPr>
          <p:cNvPr id="3" name="Copy">
            <a:extLst>
              <a:ext uri="{FF2B5EF4-FFF2-40B4-BE49-F238E27FC236}">
                <a16:creationId xmlns:a16="http://schemas.microsoft.com/office/drawing/2014/main" id="{93E46A9A-BF3F-41A6-ABFA-1F80C067E133}"/>
              </a:ext>
            </a:extLst>
          </p:cNvPr>
          <p:cNvSpPr>
            <a:spLocks noGrp="1"/>
          </p:cNvSpPr>
          <p:nvPr>
            <p:ph type="body" idx="1"/>
          </p:nvPr>
        </p:nvSpPr>
        <p:spPr>
          <a:xfrm>
            <a:off x="627063" y="1414800"/>
            <a:ext cx="8207375" cy="475297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455CD075-4A70-4E32-A9A2-91B316A76D0F}"/>
              </a:ext>
            </a:extLst>
          </p:cNvPr>
          <p:cNvSpPr>
            <a:spLocks noGrp="1"/>
          </p:cNvSpPr>
          <p:nvPr>
            <p:ph type="dt" sz="half" idx="2"/>
          </p:nvPr>
        </p:nvSpPr>
        <p:spPr>
          <a:xfrm>
            <a:off x="0" y="6526800"/>
            <a:ext cx="1692000" cy="331200"/>
          </a:xfrm>
          <a:prstGeom prst="rect">
            <a:avLst/>
          </a:prstGeom>
        </p:spPr>
        <p:txBody>
          <a:bodyPr vert="horz" lIns="626400" tIns="0" rIns="0" bIns="0" rtlCol="0" anchor="t" anchorCtr="0"/>
          <a:lstStyle>
            <a:lvl1pPr algn="l" rtl="0">
              <a:defRPr lang="en-US" sz="1000" b="0" kern="1200" smtClean="0">
                <a:solidFill>
                  <a:schemeClr val="tx1"/>
                </a:solidFill>
                <a:latin typeface="+mn-lt"/>
                <a:ea typeface="+mn-ea"/>
                <a:cs typeface="+mn-cs"/>
              </a:defRPr>
            </a:lvl1pPr>
          </a:lstStyle>
          <a:p>
            <a:endParaRPr lang="en-GB"/>
          </a:p>
        </p:txBody>
      </p:sp>
      <p:sp>
        <p:nvSpPr>
          <p:cNvPr id="5" name="Footer">
            <a:extLst>
              <a:ext uri="{FF2B5EF4-FFF2-40B4-BE49-F238E27FC236}">
                <a16:creationId xmlns:a16="http://schemas.microsoft.com/office/drawing/2014/main" id="{3A3DCAD1-02F3-4066-A56E-088FFE218603}"/>
              </a:ext>
            </a:extLst>
          </p:cNvPr>
          <p:cNvSpPr>
            <a:spLocks noGrp="1"/>
          </p:cNvSpPr>
          <p:nvPr>
            <p:ph type="ftr" sz="quarter" idx="3"/>
          </p:nvPr>
        </p:nvSpPr>
        <p:spPr>
          <a:xfrm>
            <a:off x="3708400" y="6526800"/>
            <a:ext cx="8484800" cy="331200"/>
          </a:xfrm>
          <a:prstGeom prst="rect">
            <a:avLst/>
          </a:prstGeom>
        </p:spPr>
        <p:txBody>
          <a:bodyPr vert="horz" lIns="0" tIns="0" rIns="835200" bIns="0" rtlCol="0" anchor="t"/>
          <a:lstStyle>
            <a:lvl1pPr algn="r" rtl="0">
              <a:defRPr lang="en-US" sz="1000" b="0" kern="1200">
                <a:solidFill>
                  <a:schemeClr val="tx1"/>
                </a:solidFill>
                <a:latin typeface="+mn-lt"/>
                <a:ea typeface="+mn-ea"/>
                <a:cs typeface="+mn-cs"/>
              </a:defRPr>
            </a:lvl1pPr>
          </a:lstStyle>
          <a:p>
            <a:r>
              <a:rPr lang="de-DE" err="1"/>
              <a:t>Restricted</a:t>
            </a:r>
            <a:r>
              <a:rPr lang="de-DE"/>
              <a:t> © Siemens Gamesa </a:t>
            </a:r>
            <a:r>
              <a:rPr lang="de-DE" err="1"/>
              <a:t>Renewable</a:t>
            </a:r>
            <a:r>
              <a:rPr lang="de-DE"/>
              <a:t> Energy, YYYY | </a:t>
            </a:r>
            <a:r>
              <a:rPr lang="de-DE" err="1"/>
              <a:t>Author</a:t>
            </a:r>
            <a:r>
              <a:rPr lang="de-DE"/>
              <a:t> | Department</a:t>
            </a:r>
            <a:endParaRPr lang="en-GB"/>
          </a:p>
        </p:txBody>
      </p:sp>
      <p:sp>
        <p:nvSpPr>
          <p:cNvPr id="6" name="Slide Number">
            <a:extLst>
              <a:ext uri="{FF2B5EF4-FFF2-40B4-BE49-F238E27FC236}">
                <a16:creationId xmlns:a16="http://schemas.microsoft.com/office/drawing/2014/main" id="{CF18B48C-AD01-4D10-ADDC-CBE83D3C9141}"/>
              </a:ext>
            </a:extLst>
          </p:cNvPr>
          <p:cNvSpPr>
            <a:spLocks noGrp="1"/>
          </p:cNvSpPr>
          <p:nvPr>
            <p:ph type="sldNum" sz="quarter" idx="4"/>
          </p:nvPr>
        </p:nvSpPr>
        <p:spPr>
          <a:xfrm>
            <a:off x="11364000" y="6526800"/>
            <a:ext cx="828000" cy="331200"/>
          </a:xfrm>
          <a:prstGeom prst="rect">
            <a:avLst/>
          </a:prstGeom>
        </p:spPr>
        <p:txBody>
          <a:bodyPr vert="horz" lIns="0" tIns="0" rIns="482400" bIns="0" rtlCol="0" anchor="t" anchorCtr="0"/>
          <a:lstStyle>
            <a:lvl1pPr algn="r" rtl="0">
              <a:defRPr lang="en-US" sz="1000" b="1" kern="1200" smtClean="0">
                <a:solidFill>
                  <a:schemeClr val="tx1"/>
                </a:solidFill>
                <a:latin typeface="+mn-lt"/>
                <a:ea typeface="+mn-ea"/>
                <a:cs typeface="+mn-cs"/>
              </a:defRPr>
            </a:lvl1pPr>
          </a:lstStyle>
          <a:p>
            <a:fld id="{E5B0116A-0D09-4E99-8C69-B4C15A5D8A2B}" type="slidenum">
              <a:rPr lang="en-GB" smtClean="0"/>
              <a:pPr/>
              <a:t>‹#›</a:t>
            </a:fld>
            <a:endParaRPr lang="en-GB"/>
          </a:p>
        </p:txBody>
      </p:sp>
    </p:spTree>
    <p:extLst>
      <p:ext uri="{BB962C8B-B14F-4D97-AF65-F5344CB8AC3E}">
        <p14:creationId xmlns:p14="http://schemas.microsoft.com/office/powerpoint/2010/main" val="2636977341"/>
      </p:ext>
    </p:extLst>
  </p:cSld>
  <p:clrMap bg1="lt1" tx1="dk1" bg2="lt2" tx2="dk2" accent1="accent1" accent2="accent2" accent3="accent3" accent4="accent4" accent5="accent5" accent6="accent6" hlink="hlink" folHlink="folHlink"/>
  <p:sldLayoutIdLst>
    <p:sldLayoutId id="2147483681" r:id="rId1"/>
    <p:sldLayoutId id="2147483662" r:id="rId2"/>
    <p:sldLayoutId id="2147483704" r:id="rId3"/>
    <p:sldLayoutId id="2147483683" r:id="rId4"/>
    <p:sldLayoutId id="2147483703" r:id="rId5"/>
    <p:sldLayoutId id="2147483667" r:id="rId6"/>
    <p:sldLayoutId id="2147483688" r:id="rId7"/>
    <p:sldLayoutId id="2147483673" r:id="rId8"/>
    <p:sldLayoutId id="2147483663" r:id="rId9"/>
    <p:sldLayoutId id="2147483687" r:id="rId10"/>
    <p:sldLayoutId id="2147483660" r:id="rId11"/>
  </p:sldLayoutIdLst>
  <p:hf sldNum="0" hd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18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5" userDrawn="1">
          <p15:clr>
            <a:srgbClr val="009999"/>
          </p15:clr>
        </p15:guide>
        <p15:guide id="2" pos="2662">
          <p15:clr>
            <a:srgbClr val="009999"/>
          </p15:clr>
        </p15:guide>
        <p15:guide id="3" pos="3842">
          <p15:clr>
            <a:srgbClr val="009999"/>
          </p15:clr>
        </p15:guide>
        <p15:guide id="4" pos="3932">
          <p15:clr>
            <a:srgbClr val="009999"/>
          </p15:clr>
        </p15:guide>
        <p15:guide id="5" pos="5565">
          <p15:clr>
            <a:srgbClr val="009999"/>
          </p15:clr>
        </p15:guide>
        <p15:guide id="6" pos="6087">
          <p15:clr>
            <a:srgbClr val="009999"/>
          </p15:clr>
        </p15:guide>
        <p15:guide id="7" pos="7379">
          <p15:clr>
            <a:srgbClr val="009999"/>
          </p15:clr>
        </p15:guide>
        <p15:guide id="9" orient="horz" pos="891">
          <p15:clr>
            <a:srgbClr val="009999"/>
          </p15:clr>
        </p15:guide>
        <p15:guide id="10" orient="horz" pos="1073">
          <p15:clr>
            <a:srgbClr val="009999"/>
          </p15:clr>
        </p15:guide>
        <p15:guide id="11" orient="horz" pos="2343">
          <p15:clr>
            <a:srgbClr val="009999"/>
          </p15:clr>
        </p15:guide>
        <p15:guide id="12" orient="horz" pos="2433">
          <p15:clr>
            <a:srgbClr val="009999"/>
          </p15:clr>
        </p15:guide>
        <p15:guide id="13" orient="horz" pos="3703">
          <p15:clr>
            <a:srgbClr val="009999"/>
          </p15:clr>
        </p15:guide>
        <p15:guide id="14" orient="horz" pos="3885">
          <p15:clr>
            <a:srgbClr val="009999"/>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jp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1.jp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5.xml"/><Relationship Id="rId4" Type="http://schemas.openxmlformats.org/officeDocument/2006/relationships/image" Target="../media/image46.jfif"/></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5.png"/><Relationship Id="rId1" Type="http://schemas.openxmlformats.org/officeDocument/2006/relationships/slideLayout" Target="../slideLayouts/slideLayout5.xml"/><Relationship Id="rId4" Type="http://schemas.openxmlformats.org/officeDocument/2006/relationships/image" Target="../media/image48.jpg"/></Relationships>
</file>

<file path=ppt/slides/_rels/slide25.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5.xml"/><Relationship Id="rId4" Type="http://schemas.openxmlformats.org/officeDocument/2006/relationships/image" Target="../media/image50.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56.png"/><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5.png"/><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8.xml"/><Relationship Id="rId6" Type="http://schemas.openxmlformats.org/officeDocument/2006/relationships/image" Target="../media/image16.jpeg"/><Relationship Id="rId5" Type="http://schemas.openxmlformats.org/officeDocument/2006/relationships/image" Target="../media/image2.emf"/><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7.jpeg"/><Relationship Id="rId2" Type="http://schemas.openxmlformats.org/officeDocument/2006/relationships/video" Target="https://www.youtube.com/embed/oAWMpxX60KM?feature=oembed" TargetMode="External"/><Relationship Id="rId1" Type="http://schemas.openxmlformats.org/officeDocument/2006/relationships/tags" Target="../tags/tag19.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8.jpeg"/><Relationship Id="rId2" Type="http://schemas.openxmlformats.org/officeDocument/2006/relationships/video" Target="https://www.youtube.com/embed/fJyWngDco3g?feature=oembed" TargetMode="Externa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notesSlide" Target="../notesSlides/notesSlide9.xml"/><Relationship Id="rId7" Type="http://schemas.openxmlformats.org/officeDocument/2006/relationships/image" Target="../media/image20.svg"/><Relationship Id="rId12" Type="http://schemas.openxmlformats.org/officeDocument/2006/relationships/image" Target="../media/image25.svg"/><Relationship Id="rId2" Type="http://schemas.openxmlformats.org/officeDocument/2006/relationships/slideLayout" Target="../slideLayouts/slideLayout9.xml"/><Relationship Id="rId1" Type="http://schemas.openxmlformats.org/officeDocument/2006/relationships/tags" Target="../tags/tag2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2.emf"/><Relationship Id="rId10" Type="http://schemas.openxmlformats.org/officeDocument/2006/relationships/image" Target="../media/image23.svg"/><Relationship Id="rId4" Type="http://schemas.openxmlformats.org/officeDocument/2006/relationships/oleObject" Target="../embeddings/oleObject16.bin"/><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CA3253-E7DD-41DB-8C22-0783A94DE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BACA3253-E7DD-41DB-8C22-0783A94DE9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038E72CC-385E-4BD8-8999-AEE4C70B8352}"/>
              </a:ext>
            </a:extLst>
          </p:cNvPr>
          <p:cNvSpPr>
            <a:spLocks noGrp="1"/>
          </p:cNvSpPr>
          <p:nvPr>
            <p:ph type="ctrTitle"/>
          </p:nvPr>
        </p:nvSpPr>
        <p:spPr>
          <a:xfrm>
            <a:off x="900906" y="81867"/>
            <a:ext cx="6414294" cy="3114000"/>
          </a:xfrm>
        </p:spPr>
        <p:txBody>
          <a:bodyPr/>
          <a:lstStyle/>
          <a:p>
            <a:r>
              <a:rPr lang="en-US" sz="5500" noProof="0" dirty="0" err="1"/>
              <a:t>Ciberseguridad</a:t>
            </a:r>
            <a:r>
              <a:rPr lang="en-US" sz="5500" noProof="0" dirty="0"/>
              <a:t> </a:t>
            </a:r>
            <a:r>
              <a:rPr lang="en-US" sz="5500" noProof="0" dirty="0" err="1"/>
              <a:t>en</a:t>
            </a:r>
            <a:r>
              <a:rPr lang="en-US" sz="5500" noProof="0" dirty="0"/>
              <a:t> Comunicaciones</a:t>
            </a:r>
            <a:br>
              <a:rPr lang="en-US" sz="5500" noProof="0" dirty="0"/>
            </a:br>
            <a:r>
              <a:rPr lang="en-US" sz="5500" noProof="0" dirty="0"/>
              <a:t>y Networking</a:t>
            </a:r>
          </a:p>
        </p:txBody>
      </p:sp>
      <p:sp>
        <p:nvSpPr>
          <p:cNvPr id="5" name="Subhead">
            <a:extLst>
              <a:ext uri="{FF2B5EF4-FFF2-40B4-BE49-F238E27FC236}">
                <a16:creationId xmlns:a16="http://schemas.microsoft.com/office/drawing/2014/main" id="{75C10A5A-A3FB-41E8-BF5A-C06EBABD4EB4}"/>
              </a:ext>
            </a:extLst>
          </p:cNvPr>
          <p:cNvSpPr>
            <a:spLocks noGrp="1"/>
          </p:cNvSpPr>
          <p:nvPr>
            <p:ph type="subTitle" idx="1"/>
          </p:nvPr>
        </p:nvSpPr>
        <p:spPr>
          <a:xfrm>
            <a:off x="853688" y="3662133"/>
            <a:ext cx="7071112" cy="899252"/>
          </a:xfrm>
        </p:spPr>
        <p:txBody>
          <a:bodyPr/>
          <a:lstStyle/>
          <a:p>
            <a:r>
              <a:rPr lang="en-US" sz="2400" noProof="0" dirty="0"/>
              <a:t>Manuel Ballesteros</a:t>
            </a:r>
          </a:p>
          <a:p>
            <a:r>
              <a:rPr lang="en-US" sz="2400" noProof="0" dirty="0"/>
              <a:t>ICS/OT Cybersecurity Engineer Siemens Gamesa</a:t>
            </a:r>
          </a:p>
        </p:txBody>
      </p:sp>
      <p:sp>
        <p:nvSpPr>
          <p:cNvPr id="13" name="Fußzeilenplatzhalter 2">
            <a:extLst>
              <a:ext uri="{FF2B5EF4-FFF2-40B4-BE49-F238E27FC236}">
                <a16:creationId xmlns:a16="http://schemas.microsoft.com/office/drawing/2014/main" id="{DBA6614B-D91E-4286-90A4-71E072B0A4F6}"/>
              </a:ext>
            </a:extLst>
          </p:cNvPr>
          <p:cNvSpPr>
            <a:spLocks noGrp="1"/>
          </p:cNvSpPr>
          <p:nvPr>
            <p:ph type="ftr" sz="quarter" idx="11"/>
          </p:nvPr>
        </p:nvSpPr>
        <p:spPr>
          <a:xfrm>
            <a:off x="3708400" y="6526800"/>
            <a:ext cx="8484800" cy="331200"/>
          </a:xfrm>
        </p:spPr>
        <p:txBody>
          <a:bodyPr/>
          <a:lstStyle/>
          <a:p>
            <a:r>
              <a:rPr lang="de-DE" dirty="0"/>
              <a:t>Unrestricted © Siemens Gamesa Renewable Energy, 2024 | Manuel Ballesteros</a:t>
            </a:r>
            <a:endParaRPr lang="en-GB" dirty="0"/>
          </a:p>
        </p:txBody>
      </p:sp>
      <p:sp>
        <p:nvSpPr>
          <p:cNvPr id="2" name="Fußzeilenplatzhalter 2">
            <a:extLst>
              <a:ext uri="{FF2B5EF4-FFF2-40B4-BE49-F238E27FC236}">
                <a16:creationId xmlns:a16="http://schemas.microsoft.com/office/drawing/2014/main" id="{E0374F67-C01A-E61C-4924-72C7B2BED2CC}"/>
              </a:ext>
            </a:extLst>
          </p:cNvPr>
          <p:cNvSpPr txBox="1">
            <a:spLocks/>
          </p:cNvSpPr>
          <p:nvPr/>
        </p:nvSpPr>
        <p:spPr>
          <a:xfrm>
            <a:off x="627062" y="6526799"/>
            <a:ext cx="5841612" cy="331200"/>
          </a:xfrm>
          <a:prstGeom prst="rect">
            <a:avLst/>
          </a:prstGeom>
        </p:spPr>
        <p:txBody>
          <a:bodyPr vert="horz" lIns="0" tIns="0" rIns="482400" bIns="0" rtlCol="0" anchor="t"/>
          <a:lstStyle>
            <a:defPPr>
              <a:defRPr lang="de-DE"/>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t>Siemens </a:t>
            </a:r>
            <a:r>
              <a:rPr lang="de-DE" dirty="0" err="1"/>
              <a:t>Gamesa</a:t>
            </a:r>
            <a:r>
              <a:rPr lang="de-DE" dirty="0"/>
              <a:t> </a:t>
            </a:r>
            <a:r>
              <a:rPr lang="de-DE" dirty="0" err="1"/>
              <a:t>is</a:t>
            </a:r>
            <a:r>
              <a:rPr lang="de-DE" dirty="0"/>
              <a:t> a </a:t>
            </a:r>
            <a:r>
              <a:rPr lang="en-US" dirty="0"/>
              <a:t>trademark licensed by Siemens AG.</a:t>
            </a:r>
            <a:endParaRPr lang="en-GB" dirty="0"/>
          </a:p>
        </p:txBody>
      </p:sp>
    </p:spTree>
    <p:extLst>
      <p:ext uri="{BB962C8B-B14F-4D97-AF65-F5344CB8AC3E}">
        <p14:creationId xmlns:p14="http://schemas.microsoft.com/office/powerpoint/2010/main" val="2700276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2" descr="How #CocaCola Is Made In Factory - Coca-Cola Manufacturing Process - Inside  Coca-Cola Packing Line - YouTube">
            <a:extLst>
              <a:ext uri="{FF2B5EF4-FFF2-40B4-BE49-F238E27FC236}">
                <a16:creationId xmlns:a16="http://schemas.microsoft.com/office/drawing/2014/main" id="{8E40BDD6-2E86-846F-B756-A4723A2898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939166" y="-883920"/>
            <a:ext cx="13763413" cy="7741920"/>
          </a:xfrm>
          <a:prstGeom prst="rect">
            <a:avLst/>
          </a:prstGeom>
          <a:noFill/>
          <a:extLst>
            <a:ext uri="{909E8E84-426E-40DD-AFC4-6F175D3DCCD1}">
              <a14:hiddenFill xmlns:a14="http://schemas.microsoft.com/office/drawing/2010/main">
                <a:solidFill>
                  <a:srgbClr val="FFFFFF"/>
                </a:solidFill>
              </a14:hiddenFill>
            </a:ext>
          </a:extLst>
        </p:spPr>
      </p:pic>
      <p:sp>
        <p:nvSpPr>
          <p:cNvPr id="5127" name="Rectangle 5126">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60472CB2-703F-0D1E-DF71-5DFB964F502D}"/>
              </a:ext>
            </a:extLst>
          </p:cNvPr>
          <p:cNvSpPr>
            <a:spLocks noGrp="1"/>
          </p:cNvSpPr>
          <p:nvPr>
            <p:ph type="title"/>
          </p:nvPr>
        </p:nvSpPr>
        <p:spPr>
          <a:xfrm>
            <a:off x="523875" y="5317240"/>
            <a:ext cx="11210925" cy="744836"/>
          </a:xfrm>
        </p:spPr>
        <p:txBody>
          <a:bodyPr>
            <a:normAutofit/>
          </a:bodyPr>
          <a:lstStyle/>
          <a:p>
            <a:pPr algn="ctr"/>
            <a:r>
              <a:rPr lang="es-ES" sz="4000" b="1" dirty="0">
                <a:solidFill>
                  <a:schemeClr val="tx1">
                    <a:lumMod val="85000"/>
                    <a:lumOff val="15000"/>
                  </a:schemeClr>
                </a:solidFill>
                <a:latin typeface="Montserrat" panose="00000500000000000000" pitchFamily="2" charset="0"/>
              </a:rPr>
              <a:t>TECNOLOGIAS DE LA OPERACION</a:t>
            </a:r>
          </a:p>
        </p:txBody>
      </p:sp>
      <p:cxnSp>
        <p:nvCxnSpPr>
          <p:cNvPr id="5129" name="Straight Connector 5128">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5131" name="Straight Connector 5130">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76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Diagrama, Diagrama de Venn&#10;&#10;Descripción generada automáticamente">
            <a:extLst>
              <a:ext uri="{FF2B5EF4-FFF2-40B4-BE49-F238E27FC236}">
                <a16:creationId xmlns:a16="http://schemas.microsoft.com/office/drawing/2014/main" id="{048AC35C-81BE-7D62-5B6D-819E7B3C56FE}"/>
              </a:ext>
            </a:extLst>
          </p:cNvPr>
          <p:cNvPicPr>
            <a:picLocks noChangeAspect="1"/>
          </p:cNvPicPr>
          <p:nvPr/>
        </p:nvPicPr>
        <p:blipFill rotWithShape="1">
          <a:blip r:embed="rId3"/>
          <a:srcRect t="2865" r="-1" b="329"/>
          <a:stretch/>
        </p:blipFill>
        <p:spPr>
          <a:xfrm>
            <a:off x="242894" y="716491"/>
            <a:ext cx="11949106" cy="6217444"/>
          </a:xfrm>
          <a:prstGeom prst="rect">
            <a:avLst/>
          </a:prstGeom>
          <a:noFill/>
        </p:spPr>
      </p:pic>
      <p:sp>
        <p:nvSpPr>
          <p:cNvPr id="6" name="Title 1">
            <a:extLst>
              <a:ext uri="{FF2B5EF4-FFF2-40B4-BE49-F238E27FC236}">
                <a16:creationId xmlns:a16="http://schemas.microsoft.com/office/drawing/2014/main" id="{2A1EA3EE-41A3-0BDC-99BE-01FEBCE50D0D}"/>
              </a:ext>
            </a:extLst>
          </p:cNvPr>
          <p:cNvSpPr>
            <a:spLocks noGrp="1"/>
          </p:cNvSpPr>
          <p:nvPr>
            <p:ph type="title"/>
          </p:nvPr>
        </p:nvSpPr>
        <p:spPr>
          <a:xfrm>
            <a:off x="515197" y="147121"/>
            <a:ext cx="6777143" cy="1222601"/>
          </a:xfrm>
        </p:spPr>
        <p:txBody>
          <a:bodyPr>
            <a:normAutofit/>
          </a:bodyPr>
          <a:lstStyle/>
          <a:p>
            <a:r>
              <a:rPr lang="es-ES" sz="3000" dirty="0" err="1"/>
              <a:t>Intro</a:t>
            </a:r>
            <a:r>
              <a:rPr lang="es-ES" sz="3000" dirty="0"/>
              <a:t>: Infraestructuras</a:t>
            </a:r>
            <a:r>
              <a:rPr lang="en-US" sz="3000" dirty="0"/>
              <a:t> </a:t>
            </a:r>
            <a:r>
              <a:rPr lang="es-ES" sz="3000" dirty="0"/>
              <a:t>Críticas</a:t>
            </a:r>
            <a:endParaRPr lang="es-ES" sz="4500" dirty="0"/>
          </a:p>
        </p:txBody>
      </p:sp>
      <p:sp>
        <p:nvSpPr>
          <p:cNvPr id="8" name="CuadroTexto 7">
            <a:extLst>
              <a:ext uri="{FF2B5EF4-FFF2-40B4-BE49-F238E27FC236}">
                <a16:creationId xmlns:a16="http://schemas.microsoft.com/office/drawing/2014/main" id="{6F1F67E3-A35F-9A6B-2501-86F5B7C5E334}"/>
              </a:ext>
            </a:extLst>
          </p:cNvPr>
          <p:cNvSpPr txBox="1"/>
          <p:nvPr/>
        </p:nvSpPr>
        <p:spPr>
          <a:xfrm>
            <a:off x="6858000" y="6360675"/>
            <a:ext cx="4338313" cy="323165"/>
          </a:xfrm>
          <a:prstGeom prst="rect">
            <a:avLst/>
          </a:prstGeom>
          <a:noFill/>
        </p:spPr>
        <p:txBody>
          <a:bodyPr wrap="square" rtlCol="0">
            <a:spAutoFit/>
          </a:bodyPr>
          <a:lstStyle/>
          <a:p>
            <a:r>
              <a:rPr lang="en-US" sz="1500" i="1" dirty="0">
                <a:solidFill>
                  <a:schemeClr val="bg1">
                    <a:lumMod val="50000"/>
                  </a:schemeClr>
                </a:solidFill>
              </a:rPr>
              <a:t>Fuente : https://www.cci-es.org/</a:t>
            </a:r>
          </a:p>
        </p:txBody>
      </p:sp>
      <p:pic>
        <p:nvPicPr>
          <p:cNvPr id="3" name="Picture 2">
            <a:extLst>
              <a:ext uri="{FF2B5EF4-FFF2-40B4-BE49-F238E27FC236}">
                <a16:creationId xmlns:a16="http://schemas.microsoft.com/office/drawing/2014/main" id="{4C1BBA36-855A-1B92-59BD-85FC39615F70}"/>
              </a:ext>
            </a:extLst>
          </p:cNvPr>
          <p:cNvPicPr>
            <a:picLocks noChangeAspect="1"/>
          </p:cNvPicPr>
          <p:nvPr/>
        </p:nvPicPr>
        <p:blipFill>
          <a:blip r:embed="rId4"/>
          <a:stretch>
            <a:fillRect/>
          </a:stretch>
        </p:blipFill>
        <p:spPr>
          <a:xfrm>
            <a:off x="515197" y="5610851"/>
            <a:ext cx="11211516" cy="1072989"/>
          </a:xfrm>
          <a:prstGeom prst="rect">
            <a:avLst/>
          </a:prstGeom>
        </p:spPr>
      </p:pic>
    </p:spTree>
    <p:extLst>
      <p:ext uri="{BB962C8B-B14F-4D97-AF65-F5344CB8AC3E}">
        <p14:creationId xmlns:p14="http://schemas.microsoft.com/office/powerpoint/2010/main" val="2863266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F02AC91-4D36-6958-F277-5CC9D6CFDCB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985"/>
          <a:stretch/>
        </p:blipFill>
        <p:spPr bwMode="auto">
          <a:xfrm>
            <a:off x="121444" y="79296"/>
            <a:ext cx="11949113" cy="6217444"/>
          </a:xfrm>
          <a:prstGeom prst="rect">
            <a:avLst/>
          </a:prstGeom>
          <a:solidFill>
            <a:srgbClr val="FFFFFF"/>
          </a:solidFill>
        </p:spPr>
      </p:pic>
      <p:sp>
        <p:nvSpPr>
          <p:cNvPr id="5" name="Título 1">
            <a:extLst>
              <a:ext uri="{FF2B5EF4-FFF2-40B4-BE49-F238E27FC236}">
                <a16:creationId xmlns:a16="http://schemas.microsoft.com/office/drawing/2014/main" id="{F5F2851A-DD7F-B9C6-5F84-ABF6E43C6921}"/>
              </a:ext>
            </a:extLst>
          </p:cNvPr>
          <p:cNvSpPr>
            <a:spLocks noGrp="1"/>
          </p:cNvSpPr>
          <p:nvPr>
            <p:ph type="title"/>
          </p:nvPr>
        </p:nvSpPr>
        <p:spPr>
          <a:xfrm>
            <a:off x="2998470" y="67866"/>
            <a:ext cx="10515600" cy="1325563"/>
          </a:xfrm>
        </p:spPr>
        <p:txBody>
          <a:bodyPr>
            <a:normAutofit/>
          </a:bodyPr>
          <a:lstStyle/>
          <a:p>
            <a:r>
              <a:rPr lang="en-US" sz="3600" dirty="0" err="1"/>
              <a:t>Estructura</a:t>
            </a:r>
            <a:r>
              <a:rPr lang="en-US" sz="3600" dirty="0"/>
              <a:t> Industrial Control System</a:t>
            </a:r>
          </a:p>
        </p:txBody>
      </p:sp>
    </p:spTree>
    <p:extLst>
      <p:ext uri="{BB962C8B-B14F-4D97-AF65-F5344CB8AC3E}">
        <p14:creationId xmlns:p14="http://schemas.microsoft.com/office/powerpoint/2010/main" val="2248442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n 16">
            <a:extLst>
              <a:ext uri="{FF2B5EF4-FFF2-40B4-BE49-F238E27FC236}">
                <a16:creationId xmlns:a16="http://schemas.microsoft.com/office/drawing/2014/main" id="{AAD7909F-AC7B-7640-B5B9-EA3A6C38695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666192" y="263627"/>
            <a:ext cx="8859616" cy="6594373"/>
          </a:xfrm>
          <a:prstGeom prst="rect">
            <a:avLst/>
          </a:prstGeom>
        </p:spPr>
      </p:pic>
      <p:sp>
        <p:nvSpPr>
          <p:cNvPr id="5" name="Título 1">
            <a:extLst>
              <a:ext uri="{FF2B5EF4-FFF2-40B4-BE49-F238E27FC236}">
                <a16:creationId xmlns:a16="http://schemas.microsoft.com/office/drawing/2014/main" id="{F5F2851A-DD7F-B9C6-5F84-ABF6E43C6921}"/>
              </a:ext>
            </a:extLst>
          </p:cNvPr>
          <p:cNvSpPr>
            <a:spLocks noGrp="1"/>
          </p:cNvSpPr>
          <p:nvPr>
            <p:ph type="title"/>
          </p:nvPr>
        </p:nvSpPr>
        <p:spPr>
          <a:xfrm>
            <a:off x="246417" y="-146377"/>
            <a:ext cx="10515600" cy="1325563"/>
          </a:xfrm>
        </p:spPr>
        <p:txBody>
          <a:bodyPr/>
          <a:lstStyle/>
          <a:p>
            <a:r>
              <a:rPr lang="en-US" dirty="0"/>
              <a:t>Intro: IT/OT</a:t>
            </a:r>
          </a:p>
        </p:txBody>
      </p:sp>
    </p:spTree>
    <p:extLst>
      <p:ext uri="{BB962C8B-B14F-4D97-AF65-F5344CB8AC3E}">
        <p14:creationId xmlns:p14="http://schemas.microsoft.com/office/powerpoint/2010/main" val="470355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1EA39565-0EEF-F1FB-6FA0-8415B1796CC7}"/>
              </a:ext>
            </a:extLst>
          </p:cNvPr>
          <p:cNvPicPr>
            <a:picLocks noChangeAspect="1"/>
          </p:cNvPicPr>
          <p:nvPr/>
        </p:nvPicPr>
        <p:blipFill>
          <a:blip r:embed="rId3"/>
          <a:stretch>
            <a:fillRect/>
          </a:stretch>
        </p:blipFill>
        <p:spPr>
          <a:xfrm>
            <a:off x="0" y="429"/>
            <a:ext cx="12192000" cy="6857143"/>
          </a:xfrm>
          <a:prstGeom prst="rect">
            <a:avLst/>
          </a:prstGeom>
        </p:spPr>
      </p:pic>
    </p:spTree>
    <p:extLst>
      <p:ext uri="{BB962C8B-B14F-4D97-AF65-F5344CB8AC3E}">
        <p14:creationId xmlns:p14="http://schemas.microsoft.com/office/powerpoint/2010/main" val="35385543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Elipse 25"/>
          <p:cNvSpPr/>
          <p:nvPr/>
        </p:nvSpPr>
        <p:spPr>
          <a:xfrm>
            <a:off x="4268364" y="1136070"/>
            <a:ext cx="3802707" cy="364892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12" name="object 9"/>
          <p:cNvGrpSpPr/>
          <p:nvPr/>
        </p:nvGrpSpPr>
        <p:grpSpPr>
          <a:xfrm>
            <a:off x="8464731" y="428787"/>
            <a:ext cx="1616038" cy="1565476"/>
            <a:chOff x="7115809" y="715009"/>
            <a:chExt cx="1293495" cy="1293495"/>
          </a:xfrm>
        </p:grpSpPr>
        <p:sp>
          <p:nvSpPr>
            <p:cNvPr id="13" name="object 10"/>
            <p:cNvSpPr/>
            <p:nvPr/>
          </p:nvSpPr>
          <p:spPr>
            <a:xfrm>
              <a:off x="7128509" y="727709"/>
              <a:ext cx="1268095" cy="1268095"/>
            </a:xfrm>
            <a:custGeom>
              <a:avLst/>
              <a:gdLst/>
              <a:ahLst/>
              <a:cxnLst/>
              <a:rect l="l" t="t" r="r" b="b"/>
              <a:pathLst>
                <a:path w="1268095" h="1268095">
                  <a:moveTo>
                    <a:pt x="633984" y="0"/>
                  </a:moveTo>
                  <a:lnTo>
                    <a:pt x="586669" y="1738"/>
                  </a:lnTo>
                  <a:lnTo>
                    <a:pt x="540298" y="6874"/>
                  </a:lnTo>
                  <a:lnTo>
                    <a:pt x="494995" y="15282"/>
                  </a:lnTo>
                  <a:lnTo>
                    <a:pt x="450881" y="26842"/>
                  </a:lnTo>
                  <a:lnTo>
                    <a:pt x="408079" y="41430"/>
                  </a:lnTo>
                  <a:lnTo>
                    <a:pt x="366712" y="58924"/>
                  </a:lnTo>
                  <a:lnTo>
                    <a:pt x="326903" y="79201"/>
                  </a:lnTo>
                  <a:lnTo>
                    <a:pt x="288773" y="102138"/>
                  </a:lnTo>
                  <a:lnTo>
                    <a:pt x="252446" y="127614"/>
                  </a:lnTo>
                  <a:lnTo>
                    <a:pt x="218044" y="155505"/>
                  </a:lnTo>
                  <a:lnTo>
                    <a:pt x="185689" y="185689"/>
                  </a:lnTo>
                  <a:lnTo>
                    <a:pt x="155505" y="218044"/>
                  </a:lnTo>
                  <a:lnTo>
                    <a:pt x="127614" y="252446"/>
                  </a:lnTo>
                  <a:lnTo>
                    <a:pt x="102138" y="288773"/>
                  </a:lnTo>
                  <a:lnTo>
                    <a:pt x="79201" y="326903"/>
                  </a:lnTo>
                  <a:lnTo>
                    <a:pt x="58924" y="366712"/>
                  </a:lnTo>
                  <a:lnTo>
                    <a:pt x="41430" y="408079"/>
                  </a:lnTo>
                  <a:lnTo>
                    <a:pt x="26842" y="450881"/>
                  </a:lnTo>
                  <a:lnTo>
                    <a:pt x="15282" y="494995"/>
                  </a:lnTo>
                  <a:lnTo>
                    <a:pt x="6874" y="540298"/>
                  </a:lnTo>
                  <a:lnTo>
                    <a:pt x="1738" y="586669"/>
                  </a:lnTo>
                  <a:lnTo>
                    <a:pt x="0" y="633984"/>
                  </a:lnTo>
                  <a:lnTo>
                    <a:pt x="1738" y="681298"/>
                  </a:lnTo>
                  <a:lnTo>
                    <a:pt x="6874" y="727669"/>
                  </a:lnTo>
                  <a:lnTo>
                    <a:pt x="15282" y="772972"/>
                  </a:lnTo>
                  <a:lnTo>
                    <a:pt x="26842" y="817086"/>
                  </a:lnTo>
                  <a:lnTo>
                    <a:pt x="41430" y="859888"/>
                  </a:lnTo>
                  <a:lnTo>
                    <a:pt x="58924" y="901255"/>
                  </a:lnTo>
                  <a:lnTo>
                    <a:pt x="79201" y="941064"/>
                  </a:lnTo>
                  <a:lnTo>
                    <a:pt x="102138" y="979194"/>
                  </a:lnTo>
                  <a:lnTo>
                    <a:pt x="127614" y="1015521"/>
                  </a:lnTo>
                  <a:lnTo>
                    <a:pt x="155505" y="1049923"/>
                  </a:lnTo>
                  <a:lnTo>
                    <a:pt x="185689" y="1082278"/>
                  </a:lnTo>
                  <a:lnTo>
                    <a:pt x="218044" y="1112462"/>
                  </a:lnTo>
                  <a:lnTo>
                    <a:pt x="252446" y="1140353"/>
                  </a:lnTo>
                  <a:lnTo>
                    <a:pt x="288773" y="1165829"/>
                  </a:lnTo>
                  <a:lnTo>
                    <a:pt x="326903" y="1188766"/>
                  </a:lnTo>
                  <a:lnTo>
                    <a:pt x="366712" y="1209043"/>
                  </a:lnTo>
                  <a:lnTo>
                    <a:pt x="408079" y="1226537"/>
                  </a:lnTo>
                  <a:lnTo>
                    <a:pt x="450881" y="1241125"/>
                  </a:lnTo>
                  <a:lnTo>
                    <a:pt x="494995" y="1252685"/>
                  </a:lnTo>
                  <a:lnTo>
                    <a:pt x="540298" y="1261093"/>
                  </a:lnTo>
                  <a:lnTo>
                    <a:pt x="586669" y="1266229"/>
                  </a:lnTo>
                  <a:lnTo>
                    <a:pt x="633984" y="1267967"/>
                  </a:lnTo>
                  <a:lnTo>
                    <a:pt x="681298" y="1266229"/>
                  </a:lnTo>
                  <a:lnTo>
                    <a:pt x="727669" y="1261093"/>
                  </a:lnTo>
                  <a:lnTo>
                    <a:pt x="772972" y="1252685"/>
                  </a:lnTo>
                  <a:lnTo>
                    <a:pt x="817086" y="1241125"/>
                  </a:lnTo>
                  <a:lnTo>
                    <a:pt x="859888" y="1226537"/>
                  </a:lnTo>
                  <a:lnTo>
                    <a:pt x="901255" y="1209043"/>
                  </a:lnTo>
                  <a:lnTo>
                    <a:pt x="941064" y="1188766"/>
                  </a:lnTo>
                  <a:lnTo>
                    <a:pt x="979194" y="1165829"/>
                  </a:lnTo>
                  <a:lnTo>
                    <a:pt x="1015521" y="1140353"/>
                  </a:lnTo>
                  <a:lnTo>
                    <a:pt x="1049923" y="1112462"/>
                  </a:lnTo>
                  <a:lnTo>
                    <a:pt x="1082278" y="1082278"/>
                  </a:lnTo>
                  <a:lnTo>
                    <a:pt x="1112462" y="1049923"/>
                  </a:lnTo>
                  <a:lnTo>
                    <a:pt x="1140353" y="1015521"/>
                  </a:lnTo>
                  <a:lnTo>
                    <a:pt x="1165829" y="979194"/>
                  </a:lnTo>
                  <a:lnTo>
                    <a:pt x="1188766" y="941064"/>
                  </a:lnTo>
                  <a:lnTo>
                    <a:pt x="1209043" y="901255"/>
                  </a:lnTo>
                  <a:lnTo>
                    <a:pt x="1226537" y="859888"/>
                  </a:lnTo>
                  <a:lnTo>
                    <a:pt x="1241125" y="817086"/>
                  </a:lnTo>
                  <a:lnTo>
                    <a:pt x="1252685" y="772972"/>
                  </a:lnTo>
                  <a:lnTo>
                    <a:pt x="1261093" y="727669"/>
                  </a:lnTo>
                  <a:lnTo>
                    <a:pt x="1266229" y="681298"/>
                  </a:lnTo>
                  <a:lnTo>
                    <a:pt x="1267968" y="633984"/>
                  </a:lnTo>
                  <a:lnTo>
                    <a:pt x="1266229" y="586669"/>
                  </a:lnTo>
                  <a:lnTo>
                    <a:pt x="1261093" y="540298"/>
                  </a:lnTo>
                  <a:lnTo>
                    <a:pt x="1252685" y="494995"/>
                  </a:lnTo>
                  <a:lnTo>
                    <a:pt x="1241125" y="450881"/>
                  </a:lnTo>
                  <a:lnTo>
                    <a:pt x="1226537" y="408079"/>
                  </a:lnTo>
                  <a:lnTo>
                    <a:pt x="1209043" y="366712"/>
                  </a:lnTo>
                  <a:lnTo>
                    <a:pt x="1188766" y="326903"/>
                  </a:lnTo>
                  <a:lnTo>
                    <a:pt x="1165829" y="288773"/>
                  </a:lnTo>
                  <a:lnTo>
                    <a:pt x="1140353" y="252446"/>
                  </a:lnTo>
                  <a:lnTo>
                    <a:pt x="1112462" y="218044"/>
                  </a:lnTo>
                  <a:lnTo>
                    <a:pt x="1082278" y="185689"/>
                  </a:lnTo>
                  <a:lnTo>
                    <a:pt x="1049923" y="155505"/>
                  </a:lnTo>
                  <a:lnTo>
                    <a:pt x="1015521" y="127614"/>
                  </a:lnTo>
                  <a:lnTo>
                    <a:pt x="979194" y="102138"/>
                  </a:lnTo>
                  <a:lnTo>
                    <a:pt x="941064" y="79201"/>
                  </a:lnTo>
                  <a:lnTo>
                    <a:pt x="901255" y="58924"/>
                  </a:lnTo>
                  <a:lnTo>
                    <a:pt x="859888" y="41430"/>
                  </a:lnTo>
                  <a:lnTo>
                    <a:pt x="817086" y="26842"/>
                  </a:lnTo>
                  <a:lnTo>
                    <a:pt x="772972" y="15282"/>
                  </a:lnTo>
                  <a:lnTo>
                    <a:pt x="727669" y="6874"/>
                  </a:lnTo>
                  <a:lnTo>
                    <a:pt x="681298" y="1738"/>
                  </a:lnTo>
                  <a:lnTo>
                    <a:pt x="633984" y="0"/>
                  </a:lnTo>
                  <a:close/>
                </a:path>
              </a:pathLst>
            </a:custGeom>
            <a:solidFill>
              <a:srgbClr val="FFFFFF"/>
            </a:solidFill>
          </p:spPr>
          <p:txBody>
            <a:bodyPr wrap="square" lIns="0" tIns="0" rIns="0" bIns="0" rtlCol="0"/>
            <a:lstStyle/>
            <a:p>
              <a:endParaRPr>
                <a:ln>
                  <a:solidFill>
                    <a:schemeClr val="tx2"/>
                  </a:solidFill>
                </a:ln>
              </a:endParaRPr>
            </a:p>
          </p:txBody>
        </p:sp>
        <p:sp>
          <p:nvSpPr>
            <p:cNvPr id="14" name="object 11"/>
            <p:cNvSpPr/>
            <p:nvPr/>
          </p:nvSpPr>
          <p:spPr>
            <a:xfrm>
              <a:off x="7128509" y="727709"/>
              <a:ext cx="1268095" cy="1268095"/>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4"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8"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4" y="1267967"/>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25400">
              <a:solidFill>
                <a:srgbClr val="FFFFFF"/>
              </a:solidFill>
            </a:ln>
          </p:spPr>
          <p:txBody>
            <a:bodyPr wrap="square" lIns="0" tIns="0" rIns="0" bIns="0" rtlCol="0"/>
            <a:lstStyle/>
            <a:p>
              <a:endParaRPr>
                <a:ln>
                  <a:solidFill>
                    <a:schemeClr val="tx2"/>
                  </a:solidFill>
                </a:ln>
              </a:endParaRPr>
            </a:p>
          </p:txBody>
        </p:sp>
        <p:pic>
          <p:nvPicPr>
            <p:cNvPr id="15" name="object 12"/>
            <p:cNvPicPr/>
            <p:nvPr/>
          </p:nvPicPr>
          <p:blipFill>
            <a:blip r:embed="rId2" cstate="print"/>
            <a:stretch>
              <a:fillRect/>
            </a:stretch>
          </p:blipFill>
          <p:spPr>
            <a:xfrm>
              <a:off x="7287767" y="915923"/>
              <a:ext cx="918972" cy="918972"/>
            </a:xfrm>
            <a:prstGeom prst="rect">
              <a:avLst/>
            </a:prstGeom>
          </p:spPr>
        </p:pic>
      </p:grpSp>
      <p:grpSp>
        <p:nvGrpSpPr>
          <p:cNvPr id="16" name="object 13"/>
          <p:cNvGrpSpPr/>
          <p:nvPr/>
        </p:nvGrpSpPr>
        <p:grpSpPr>
          <a:xfrm>
            <a:off x="1975054" y="378154"/>
            <a:ext cx="1682547" cy="1515830"/>
            <a:chOff x="894841" y="743966"/>
            <a:chExt cx="1235710" cy="1235710"/>
          </a:xfrm>
        </p:grpSpPr>
        <p:sp>
          <p:nvSpPr>
            <p:cNvPr id="17" name="object 14"/>
            <p:cNvSpPr/>
            <p:nvPr/>
          </p:nvSpPr>
          <p:spPr>
            <a:xfrm>
              <a:off x="907541" y="756666"/>
              <a:ext cx="1210310" cy="1210310"/>
            </a:xfrm>
            <a:custGeom>
              <a:avLst/>
              <a:gdLst/>
              <a:ahLst/>
              <a:cxnLst/>
              <a:rect l="l" t="t" r="r" b="b"/>
              <a:pathLst>
                <a:path w="1210310" h="1210310">
                  <a:moveTo>
                    <a:pt x="605028" y="0"/>
                  </a:moveTo>
                  <a:lnTo>
                    <a:pt x="557745" y="1820"/>
                  </a:lnTo>
                  <a:lnTo>
                    <a:pt x="511457" y="7191"/>
                  </a:lnTo>
                  <a:lnTo>
                    <a:pt x="466300" y="15979"/>
                  </a:lnTo>
                  <a:lnTo>
                    <a:pt x="422406" y="28049"/>
                  </a:lnTo>
                  <a:lnTo>
                    <a:pt x="379912" y="43267"/>
                  </a:lnTo>
                  <a:lnTo>
                    <a:pt x="338951" y="61497"/>
                  </a:lnTo>
                  <a:lnTo>
                    <a:pt x="299657" y="82606"/>
                  </a:lnTo>
                  <a:lnTo>
                    <a:pt x="262167" y="106459"/>
                  </a:lnTo>
                  <a:lnTo>
                    <a:pt x="226613" y="132921"/>
                  </a:lnTo>
                  <a:lnTo>
                    <a:pt x="193130" y="161858"/>
                  </a:lnTo>
                  <a:lnTo>
                    <a:pt x="161853" y="193135"/>
                  </a:lnTo>
                  <a:lnTo>
                    <a:pt x="132917" y="226618"/>
                  </a:lnTo>
                  <a:lnTo>
                    <a:pt x="106455" y="262172"/>
                  </a:lnTo>
                  <a:lnTo>
                    <a:pt x="82603" y="299663"/>
                  </a:lnTo>
                  <a:lnTo>
                    <a:pt x="61495" y="338956"/>
                  </a:lnTo>
                  <a:lnTo>
                    <a:pt x="43265" y="379917"/>
                  </a:lnTo>
                  <a:lnTo>
                    <a:pt x="28048" y="422411"/>
                  </a:lnTo>
                  <a:lnTo>
                    <a:pt x="15979" y="466304"/>
                  </a:lnTo>
                  <a:lnTo>
                    <a:pt x="7191" y="511460"/>
                  </a:lnTo>
                  <a:lnTo>
                    <a:pt x="1820" y="557746"/>
                  </a:lnTo>
                  <a:lnTo>
                    <a:pt x="0" y="605028"/>
                  </a:lnTo>
                  <a:lnTo>
                    <a:pt x="1820" y="652309"/>
                  </a:lnTo>
                  <a:lnTo>
                    <a:pt x="7191" y="698595"/>
                  </a:lnTo>
                  <a:lnTo>
                    <a:pt x="15979" y="743751"/>
                  </a:lnTo>
                  <a:lnTo>
                    <a:pt x="28048" y="787644"/>
                  </a:lnTo>
                  <a:lnTo>
                    <a:pt x="43265" y="830138"/>
                  </a:lnTo>
                  <a:lnTo>
                    <a:pt x="61495" y="871099"/>
                  </a:lnTo>
                  <a:lnTo>
                    <a:pt x="82603" y="910392"/>
                  </a:lnTo>
                  <a:lnTo>
                    <a:pt x="106455" y="947883"/>
                  </a:lnTo>
                  <a:lnTo>
                    <a:pt x="132917" y="983437"/>
                  </a:lnTo>
                  <a:lnTo>
                    <a:pt x="161853" y="1016920"/>
                  </a:lnTo>
                  <a:lnTo>
                    <a:pt x="193130" y="1048197"/>
                  </a:lnTo>
                  <a:lnTo>
                    <a:pt x="226613" y="1077134"/>
                  </a:lnTo>
                  <a:lnTo>
                    <a:pt x="262167" y="1103596"/>
                  </a:lnTo>
                  <a:lnTo>
                    <a:pt x="299657" y="1127449"/>
                  </a:lnTo>
                  <a:lnTo>
                    <a:pt x="338951" y="1148558"/>
                  </a:lnTo>
                  <a:lnTo>
                    <a:pt x="379912" y="1166788"/>
                  </a:lnTo>
                  <a:lnTo>
                    <a:pt x="422406" y="1182006"/>
                  </a:lnTo>
                  <a:lnTo>
                    <a:pt x="466300" y="1194076"/>
                  </a:lnTo>
                  <a:lnTo>
                    <a:pt x="511457" y="1202864"/>
                  </a:lnTo>
                  <a:lnTo>
                    <a:pt x="557745" y="1208235"/>
                  </a:lnTo>
                  <a:lnTo>
                    <a:pt x="605028" y="1210056"/>
                  </a:lnTo>
                  <a:lnTo>
                    <a:pt x="652309" y="1208235"/>
                  </a:lnTo>
                  <a:lnTo>
                    <a:pt x="698595" y="1202864"/>
                  </a:lnTo>
                  <a:lnTo>
                    <a:pt x="743751" y="1194076"/>
                  </a:lnTo>
                  <a:lnTo>
                    <a:pt x="787644" y="1182006"/>
                  </a:lnTo>
                  <a:lnTo>
                    <a:pt x="830138" y="1166788"/>
                  </a:lnTo>
                  <a:lnTo>
                    <a:pt x="871099" y="1148558"/>
                  </a:lnTo>
                  <a:lnTo>
                    <a:pt x="910392" y="1127449"/>
                  </a:lnTo>
                  <a:lnTo>
                    <a:pt x="947883" y="1103596"/>
                  </a:lnTo>
                  <a:lnTo>
                    <a:pt x="983437" y="1077134"/>
                  </a:lnTo>
                  <a:lnTo>
                    <a:pt x="1016920" y="1048197"/>
                  </a:lnTo>
                  <a:lnTo>
                    <a:pt x="1048197" y="1016920"/>
                  </a:lnTo>
                  <a:lnTo>
                    <a:pt x="1077134" y="983437"/>
                  </a:lnTo>
                  <a:lnTo>
                    <a:pt x="1103596" y="947883"/>
                  </a:lnTo>
                  <a:lnTo>
                    <a:pt x="1127449" y="910392"/>
                  </a:lnTo>
                  <a:lnTo>
                    <a:pt x="1148558" y="871099"/>
                  </a:lnTo>
                  <a:lnTo>
                    <a:pt x="1166788" y="830138"/>
                  </a:lnTo>
                  <a:lnTo>
                    <a:pt x="1182006" y="787644"/>
                  </a:lnTo>
                  <a:lnTo>
                    <a:pt x="1194076" y="743751"/>
                  </a:lnTo>
                  <a:lnTo>
                    <a:pt x="1202864" y="698595"/>
                  </a:lnTo>
                  <a:lnTo>
                    <a:pt x="1208235" y="652309"/>
                  </a:lnTo>
                  <a:lnTo>
                    <a:pt x="1210056" y="605028"/>
                  </a:lnTo>
                  <a:lnTo>
                    <a:pt x="1208235" y="557746"/>
                  </a:lnTo>
                  <a:lnTo>
                    <a:pt x="1202864" y="511460"/>
                  </a:lnTo>
                  <a:lnTo>
                    <a:pt x="1194076" y="466304"/>
                  </a:lnTo>
                  <a:lnTo>
                    <a:pt x="1182006" y="422411"/>
                  </a:lnTo>
                  <a:lnTo>
                    <a:pt x="1166788" y="379917"/>
                  </a:lnTo>
                  <a:lnTo>
                    <a:pt x="1148558" y="338956"/>
                  </a:lnTo>
                  <a:lnTo>
                    <a:pt x="1127449" y="299663"/>
                  </a:lnTo>
                  <a:lnTo>
                    <a:pt x="1103596" y="262172"/>
                  </a:lnTo>
                  <a:lnTo>
                    <a:pt x="1077134" y="226618"/>
                  </a:lnTo>
                  <a:lnTo>
                    <a:pt x="1048197" y="193135"/>
                  </a:lnTo>
                  <a:lnTo>
                    <a:pt x="1016920" y="161858"/>
                  </a:lnTo>
                  <a:lnTo>
                    <a:pt x="983437" y="132921"/>
                  </a:lnTo>
                  <a:lnTo>
                    <a:pt x="947883" y="106459"/>
                  </a:lnTo>
                  <a:lnTo>
                    <a:pt x="910392" y="82606"/>
                  </a:lnTo>
                  <a:lnTo>
                    <a:pt x="871099" y="61497"/>
                  </a:lnTo>
                  <a:lnTo>
                    <a:pt x="830138" y="43267"/>
                  </a:lnTo>
                  <a:lnTo>
                    <a:pt x="787644" y="28049"/>
                  </a:lnTo>
                  <a:lnTo>
                    <a:pt x="743751" y="15979"/>
                  </a:lnTo>
                  <a:lnTo>
                    <a:pt x="698595" y="7191"/>
                  </a:lnTo>
                  <a:lnTo>
                    <a:pt x="652309" y="1820"/>
                  </a:lnTo>
                  <a:lnTo>
                    <a:pt x="605028" y="0"/>
                  </a:lnTo>
                  <a:close/>
                </a:path>
              </a:pathLst>
            </a:custGeom>
            <a:solidFill>
              <a:srgbClr val="FFFFFF"/>
            </a:solidFill>
          </p:spPr>
          <p:txBody>
            <a:bodyPr wrap="square" lIns="0" tIns="0" rIns="0" bIns="0" rtlCol="0"/>
            <a:lstStyle/>
            <a:p>
              <a:endParaRPr/>
            </a:p>
          </p:txBody>
        </p:sp>
        <p:sp>
          <p:nvSpPr>
            <p:cNvPr id="18" name="object 15"/>
            <p:cNvSpPr/>
            <p:nvPr/>
          </p:nvSpPr>
          <p:spPr>
            <a:xfrm>
              <a:off x="907541" y="756666"/>
              <a:ext cx="1210310" cy="1210310"/>
            </a:xfrm>
            <a:custGeom>
              <a:avLst/>
              <a:gdLst/>
              <a:ahLst/>
              <a:cxnLst/>
              <a:rect l="l" t="t" r="r" b="b"/>
              <a:pathLst>
                <a:path w="1210310" h="1210310">
                  <a:moveTo>
                    <a:pt x="0" y="605028"/>
                  </a:moveTo>
                  <a:lnTo>
                    <a:pt x="1820" y="557746"/>
                  </a:lnTo>
                  <a:lnTo>
                    <a:pt x="7191" y="511460"/>
                  </a:lnTo>
                  <a:lnTo>
                    <a:pt x="15979" y="466304"/>
                  </a:lnTo>
                  <a:lnTo>
                    <a:pt x="28048" y="422411"/>
                  </a:lnTo>
                  <a:lnTo>
                    <a:pt x="43265" y="379917"/>
                  </a:lnTo>
                  <a:lnTo>
                    <a:pt x="61495" y="338956"/>
                  </a:lnTo>
                  <a:lnTo>
                    <a:pt x="82603" y="299663"/>
                  </a:lnTo>
                  <a:lnTo>
                    <a:pt x="106455" y="262172"/>
                  </a:lnTo>
                  <a:lnTo>
                    <a:pt x="132917" y="226618"/>
                  </a:lnTo>
                  <a:lnTo>
                    <a:pt x="161853" y="193135"/>
                  </a:lnTo>
                  <a:lnTo>
                    <a:pt x="193130" y="161858"/>
                  </a:lnTo>
                  <a:lnTo>
                    <a:pt x="226613" y="132921"/>
                  </a:lnTo>
                  <a:lnTo>
                    <a:pt x="262167" y="106459"/>
                  </a:lnTo>
                  <a:lnTo>
                    <a:pt x="299657" y="82606"/>
                  </a:lnTo>
                  <a:lnTo>
                    <a:pt x="338951" y="61497"/>
                  </a:lnTo>
                  <a:lnTo>
                    <a:pt x="379912" y="43267"/>
                  </a:lnTo>
                  <a:lnTo>
                    <a:pt x="422406" y="28049"/>
                  </a:lnTo>
                  <a:lnTo>
                    <a:pt x="466300" y="15979"/>
                  </a:lnTo>
                  <a:lnTo>
                    <a:pt x="511457" y="7191"/>
                  </a:lnTo>
                  <a:lnTo>
                    <a:pt x="557745" y="1820"/>
                  </a:lnTo>
                  <a:lnTo>
                    <a:pt x="605028" y="0"/>
                  </a:lnTo>
                  <a:lnTo>
                    <a:pt x="652309" y="1820"/>
                  </a:lnTo>
                  <a:lnTo>
                    <a:pt x="698595" y="7191"/>
                  </a:lnTo>
                  <a:lnTo>
                    <a:pt x="743751" y="15979"/>
                  </a:lnTo>
                  <a:lnTo>
                    <a:pt x="787644" y="28049"/>
                  </a:lnTo>
                  <a:lnTo>
                    <a:pt x="830138" y="43267"/>
                  </a:lnTo>
                  <a:lnTo>
                    <a:pt x="871099" y="61497"/>
                  </a:lnTo>
                  <a:lnTo>
                    <a:pt x="910392" y="82606"/>
                  </a:lnTo>
                  <a:lnTo>
                    <a:pt x="947883" y="106459"/>
                  </a:lnTo>
                  <a:lnTo>
                    <a:pt x="983437" y="132921"/>
                  </a:lnTo>
                  <a:lnTo>
                    <a:pt x="1016920" y="161858"/>
                  </a:lnTo>
                  <a:lnTo>
                    <a:pt x="1048197" y="193135"/>
                  </a:lnTo>
                  <a:lnTo>
                    <a:pt x="1077134" y="226618"/>
                  </a:lnTo>
                  <a:lnTo>
                    <a:pt x="1103596" y="262172"/>
                  </a:lnTo>
                  <a:lnTo>
                    <a:pt x="1127449" y="299663"/>
                  </a:lnTo>
                  <a:lnTo>
                    <a:pt x="1148558" y="338956"/>
                  </a:lnTo>
                  <a:lnTo>
                    <a:pt x="1166788" y="379917"/>
                  </a:lnTo>
                  <a:lnTo>
                    <a:pt x="1182006" y="422411"/>
                  </a:lnTo>
                  <a:lnTo>
                    <a:pt x="1194076" y="466304"/>
                  </a:lnTo>
                  <a:lnTo>
                    <a:pt x="1202864" y="511460"/>
                  </a:lnTo>
                  <a:lnTo>
                    <a:pt x="1208235" y="557746"/>
                  </a:lnTo>
                  <a:lnTo>
                    <a:pt x="1210056" y="605028"/>
                  </a:lnTo>
                  <a:lnTo>
                    <a:pt x="1208235" y="652309"/>
                  </a:lnTo>
                  <a:lnTo>
                    <a:pt x="1202864" y="698595"/>
                  </a:lnTo>
                  <a:lnTo>
                    <a:pt x="1194076" y="743751"/>
                  </a:lnTo>
                  <a:lnTo>
                    <a:pt x="1182006" y="787644"/>
                  </a:lnTo>
                  <a:lnTo>
                    <a:pt x="1166788" y="830138"/>
                  </a:lnTo>
                  <a:lnTo>
                    <a:pt x="1148558" y="871099"/>
                  </a:lnTo>
                  <a:lnTo>
                    <a:pt x="1127449" y="910392"/>
                  </a:lnTo>
                  <a:lnTo>
                    <a:pt x="1103596" y="947883"/>
                  </a:lnTo>
                  <a:lnTo>
                    <a:pt x="1077134" y="983437"/>
                  </a:lnTo>
                  <a:lnTo>
                    <a:pt x="1048197" y="1016920"/>
                  </a:lnTo>
                  <a:lnTo>
                    <a:pt x="1016920" y="1048197"/>
                  </a:lnTo>
                  <a:lnTo>
                    <a:pt x="983437" y="1077134"/>
                  </a:lnTo>
                  <a:lnTo>
                    <a:pt x="947883" y="1103596"/>
                  </a:lnTo>
                  <a:lnTo>
                    <a:pt x="910392" y="1127449"/>
                  </a:lnTo>
                  <a:lnTo>
                    <a:pt x="871099" y="1148558"/>
                  </a:lnTo>
                  <a:lnTo>
                    <a:pt x="830138" y="1166788"/>
                  </a:lnTo>
                  <a:lnTo>
                    <a:pt x="787644" y="1182006"/>
                  </a:lnTo>
                  <a:lnTo>
                    <a:pt x="743751" y="1194076"/>
                  </a:lnTo>
                  <a:lnTo>
                    <a:pt x="698595" y="1202864"/>
                  </a:lnTo>
                  <a:lnTo>
                    <a:pt x="652309" y="1208235"/>
                  </a:lnTo>
                  <a:lnTo>
                    <a:pt x="605028" y="1210056"/>
                  </a:lnTo>
                  <a:lnTo>
                    <a:pt x="557745" y="1208235"/>
                  </a:lnTo>
                  <a:lnTo>
                    <a:pt x="511457" y="1202864"/>
                  </a:lnTo>
                  <a:lnTo>
                    <a:pt x="466300" y="1194076"/>
                  </a:lnTo>
                  <a:lnTo>
                    <a:pt x="422406" y="1182006"/>
                  </a:lnTo>
                  <a:lnTo>
                    <a:pt x="379912" y="1166788"/>
                  </a:lnTo>
                  <a:lnTo>
                    <a:pt x="338951" y="1148558"/>
                  </a:lnTo>
                  <a:lnTo>
                    <a:pt x="299657" y="1127449"/>
                  </a:lnTo>
                  <a:lnTo>
                    <a:pt x="262167" y="1103596"/>
                  </a:lnTo>
                  <a:lnTo>
                    <a:pt x="226613" y="1077134"/>
                  </a:lnTo>
                  <a:lnTo>
                    <a:pt x="193130" y="1048197"/>
                  </a:lnTo>
                  <a:lnTo>
                    <a:pt x="161853" y="1016920"/>
                  </a:lnTo>
                  <a:lnTo>
                    <a:pt x="132917" y="983437"/>
                  </a:lnTo>
                  <a:lnTo>
                    <a:pt x="106455" y="947883"/>
                  </a:lnTo>
                  <a:lnTo>
                    <a:pt x="82603" y="910392"/>
                  </a:lnTo>
                  <a:lnTo>
                    <a:pt x="61495" y="871099"/>
                  </a:lnTo>
                  <a:lnTo>
                    <a:pt x="43265" y="830138"/>
                  </a:lnTo>
                  <a:lnTo>
                    <a:pt x="28048" y="787644"/>
                  </a:lnTo>
                  <a:lnTo>
                    <a:pt x="15979" y="743751"/>
                  </a:lnTo>
                  <a:lnTo>
                    <a:pt x="7191" y="698595"/>
                  </a:lnTo>
                  <a:lnTo>
                    <a:pt x="1820" y="652309"/>
                  </a:lnTo>
                  <a:lnTo>
                    <a:pt x="0" y="605028"/>
                  </a:lnTo>
                  <a:close/>
                </a:path>
              </a:pathLst>
            </a:custGeom>
            <a:ln w="25400">
              <a:solidFill>
                <a:srgbClr val="FFFFFF"/>
              </a:solidFill>
            </a:ln>
          </p:spPr>
          <p:txBody>
            <a:bodyPr wrap="square" lIns="0" tIns="0" rIns="0" bIns="0" rtlCol="0"/>
            <a:lstStyle/>
            <a:p>
              <a:endParaRPr/>
            </a:p>
          </p:txBody>
        </p:sp>
        <p:pic>
          <p:nvPicPr>
            <p:cNvPr id="19" name="object 16"/>
            <p:cNvPicPr/>
            <p:nvPr/>
          </p:nvPicPr>
          <p:blipFill>
            <a:blip r:embed="rId3" cstate="print"/>
            <a:stretch>
              <a:fillRect/>
            </a:stretch>
          </p:blipFill>
          <p:spPr>
            <a:xfrm>
              <a:off x="986027" y="830580"/>
              <a:ext cx="1098804" cy="1098803"/>
            </a:xfrm>
            <a:prstGeom prst="rect">
              <a:avLst/>
            </a:prstGeom>
          </p:spPr>
        </p:pic>
      </p:grpSp>
      <p:grpSp>
        <p:nvGrpSpPr>
          <p:cNvPr id="20" name="object 5"/>
          <p:cNvGrpSpPr/>
          <p:nvPr/>
        </p:nvGrpSpPr>
        <p:grpSpPr>
          <a:xfrm>
            <a:off x="8409258" y="4876801"/>
            <a:ext cx="1688061" cy="1519895"/>
            <a:chOff x="7100569" y="5008117"/>
            <a:chExt cx="1295400" cy="1295400"/>
          </a:xfrm>
        </p:grpSpPr>
        <p:sp>
          <p:nvSpPr>
            <p:cNvPr id="21" name="object 6"/>
            <p:cNvSpPr/>
            <p:nvPr/>
          </p:nvSpPr>
          <p:spPr>
            <a:xfrm>
              <a:off x="7113269" y="5020817"/>
              <a:ext cx="1270000" cy="1270000"/>
            </a:xfrm>
            <a:custGeom>
              <a:avLst/>
              <a:gdLst/>
              <a:ahLst/>
              <a:cxnLst/>
              <a:rect l="l" t="t" r="r" b="b"/>
              <a:pathLst>
                <a:path w="1270000" h="1270000">
                  <a:moveTo>
                    <a:pt x="634746" y="0"/>
                  </a:moveTo>
                  <a:lnTo>
                    <a:pt x="587379" y="1741"/>
                  </a:lnTo>
                  <a:lnTo>
                    <a:pt x="540957" y="6883"/>
                  </a:lnTo>
                  <a:lnTo>
                    <a:pt x="495602" y="15302"/>
                  </a:lnTo>
                  <a:lnTo>
                    <a:pt x="451437" y="26877"/>
                  </a:lnTo>
                  <a:lnTo>
                    <a:pt x="408586" y="41484"/>
                  </a:lnTo>
                  <a:lnTo>
                    <a:pt x="367170" y="59001"/>
                  </a:lnTo>
                  <a:lnTo>
                    <a:pt x="327313" y="79304"/>
                  </a:lnTo>
                  <a:lnTo>
                    <a:pt x="289138" y="102271"/>
                  </a:lnTo>
                  <a:lnTo>
                    <a:pt x="252766" y="127779"/>
                  </a:lnTo>
                  <a:lnTo>
                    <a:pt x="218322" y="155706"/>
                  </a:lnTo>
                  <a:lnTo>
                    <a:pt x="185927" y="185927"/>
                  </a:lnTo>
                  <a:lnTo>
                    <a:pt x="155706" y="218322"/>
                  </a:lnTo>
                  <a:lnTo>
                    <a:pt x="127779" y="252766"/>
                  </a:lnTo>
                  <a:lnTo>
                    <a:pt x="102271" y="289138"/>
                  </a:lnTo>
                  <a:lnTo>
                    <a:pt x="79304" y="327313"/>
                  </a:lnTo>
                  <a:lnTo>
                    <a:pt x="59001" y="367170"/>
                  </a:lnTo>
                  <a:lnTo>
                    <a:pt x="41484" y="408586"/>
                  </a:lnTo>
                  <a:lnTo>
                    <a:pt x="26877" y="451437"/>
                  </a:lnTo>
                  <a:lnTo>
                    <a:pt x="15302" y="495602"/>
                  </a:lnTo>
                  <a:lnTo>
                    <a:pt x="6883" y="540957"/>
                  </a:lnTo>
                  <a:lnTo>
                    <a:pt x="1741" y="587379"/>
                  </a:lnTo>
                  <a:lnTo>
                    <a:pt x="0" y="634745"/>
                  </a:lnTo>
                  <a:lnTo>
                    <a:pt x="1741" y="682117"/>
                  </a:lnTo>
                  <a:lnTo>
                    <a:pt x="6883" y="728543"/>
                  </a:lnTo>
                  <a:lnTo>
                    <a:pt x="15302" y="773901"/>
                  </a:lnTo>
                  <a:lnTo>
                    <a:pt x="26877" y="818068"/>
                  </a:lnTo>
                  <a:lnTo>
                    <a:pt x="41484" y="860921"/>
                  </a:lnTo>
                  <a:lnTo>
                    <a:pt x="59001" y="902337"/>
                  </a:lnTo>
                  <a:lnTo>
                    <a:pt x="79304" y="942195"/>
                  </a:lnTo>
                  <a:lnTo>
                    <a:pt x="102271" y="980370"/>
                  </a:lnTo>
                  <a:lnTo>
                    <a:pt x="127779" y="1016741"/>
                  </a:lnTo>
                  <a:lnTo>
                    <a:pt x="155706" y="1051185"/>
                  </a:lnTo>
                  <a:lnTo>
                    <a:pt x="185928" y="1083578"/>
                  </a:lnTo>
                  <a:lnTo>
                    <a:pt x="218322" y="1113798"/>
                  </a:lnTo>
                  <a:lnTo>
                    <a:pt x="252766" y="1141723"/>
                  </a:lnTo>
                  <a:lnTo>
                    <a:pt x="289138" y="1167229"/>
                  </a:lnTo>
                  <a:lnTo>
                    <a:pt x="327313" y="1190195"/>
                  </a:lnTo>
                  <a:lnTo>
                    <a:pt x="367170" y="1210496"/>
                  </a:lnTo>
                  <a:lnTo>
                    <a:pt x="408586" y="1228011"/>
                  </a:lnTo>
                  <a:lnTo>
                    <a:pt x="451437" y="1242617"/>
                  </a:lnTo>
                  <a:lnTo>
                    <a:pt x="495602" y="1254190"/>
                  </a:lnTo>
                  <a:lnTo>
                    <a:pt x="540957" y="1262609"/>
                  </a:lnTo>
                  <a:lnTo>
                    <a:pt x="587379" y="1267750"/>
                  </a:lnTo>
                  <a:lnTo>
                    <a:pt x="634746" y="1269491"/>
                  </a:lnTo>
                  <a:lnTo>
                    <a:pt x="682112" y="1267750"/>
                  </a:lnTo>
                  <a:lnTo>
                    <a:pt x="728534" y="1262609"/>
                  </a:lnTo>
                  <a:lnTo>
                    <a:pt x="773889" y="1254190"/>
                  </a:lnTo>
                  <a:lnTo>
                    <a:pt x="818054" y="1242617"/>
                  </a:lnTo>
                  <a:lnTo>
                    <a:pt x="860905" y="1228011"/>
                  </a:lnTo>
                  <a:lnTo>
                    <a:pt x="902321" y="1210496"/>
                  </a:lnTo>
                  <a:lnTo>
                    <a:pt x="942178" y="1190195"/>
                  </a:lnTo>
                  <a:lnTo>
                    <a:pt x="980353" y="1167229"/>
                  </a:lnTo>
                  <a:lnTo>
                    <a:pt x="1016725" y="1141723"/>
                  </a:lnTo>
                  <a:lnTo>
                    <a:pt x="1051169" y="1113798"/>
                  </a:lnTo>
                  <a:lnTo>
                    <a:pt x="1083564" y="1083578"/>
                  </a:lnTo>
                  <a:lnTo>
                    <a:pt x="1113785" y="1051185"/>
                  </a:lnTo>
                  <a:lnTo>
                    <a:pt x="1141712" y="1016741"/>
                  </a:lnTo>
                  <a:lnTo>
                    <a:pt x="1167220" y="980370"/>
                  </a:lnTo>
                  <a:lnTo>
                    <a:pt x="1190187" y="942195"/>
                  </a:lnTo>
                  <a:lnTo>
                    <a:pt x="1210490" y="902337"/>
                  </a:lnTo>
                  <a:lnTo>
                    <a:pt x="1228007" y="860921"/>
                  </a:lnTo>
                  <a:lnTo>
                    <a:pt x="1242614" y="818068"/>
                  </a:lnTo>
                  <a:lnTo>
                    <a:pt x="1254189" y="773901"/>
                  </a:lnTo>
                  <a:lnTo>
                    <a:pt x="1262608" y="728543"/>
                  </a:lnTo>
                  <a:lnTo>
                    <a:pt x="1267750" y="682117"/>
                  </a:lnTo>
                  <a:lnTo>
                    <a:pt x="1269491" y="634745"/>
                  </a:lnTo>
                  <a:lnTo>
                    <a:pt x="1267750" y="587379"/>
                  </a:lnTo>
                  <a:lnTo>
                    <a:pt x="1262608" y="540957"/>
                  </a:lnTo>
                  <a:lnTo>
                    <a:pt x="1254189" y="495602"/>
                  </a:lnTo>
                  <a:lnTo>
                    <a:pt x="1242614" y="451437"/>
                  </a:lnTo>
                  <a:lnTo>
                    <a:pt x="1228007" y="408586"/>
                  </a:lnTo>
                  <a:lnTo>
                    <a:pt x="1210490" y="367170"/>
                  </a:lnTo>
                  <a:lnTo>
                    <a:pt x="1190187" y="327313"/>
                  </a:lnTo>
                  <a:lnTo>
                    <a:pt x="1167220" y="289138"/>
                  </a:lnTo>
                  <a:lnTo>
                    <a:pt x="1141712" y="252766"/>
                  </a:lnTo>
                  <a:lnTo>
                    <a:pt x="1113785" y="218322"/>
                  </a:lnTo>
                  <a:lnTo>
                    <a:pt x="1083563" y="185927"/>
                  </a:lnTo>
                  <a:lnTo>
                    <a:pt x="1051169" y="155706"/>
                  </a:lnTo>
                  <a:lnTo>
                    <a:pt x="1016725" y="127779"/>
                  </a:lnTo>
                  <a:lnTo>
                    <a:pt x="980353" y="102271"/>
                  </a:lnTo>
                  <a:lnTo>
                    <a:pt x="942178" y="79304"/>
                  </a:lnTo>
                  <a:lnTo>
                    <a:pt x="902321" y="59001"/>
                  </a:lnTo>
                  <a:lnTo>
                    <a:pt x="860905" y="41484"/>
                  </a:lnTo>
                  <a:lnTo>
                    <a:pt x="818054" y="26877"/>
                  </a:lnTo>
                  <a:lnTo>
                    <a:pt x="773889" y="15302"/>
                  </a:lnTo>
                  <a:lnTo>
                    <a:pt x="728534" y="6883"/>
                  </a:lnTo>
                  <a:lnTo>
                    <a:pt x="682112" y="1741"/>
                  </a:lnTo>
                  <a:lnTo>
                    <a:pt x="634746" y="0"/>
                  </a:lnTo>
                  <a:close/>
                </a:path>
              </a:pathLst>
            </a:custGeom>
            <a:solidFill>
              <a:srgbClr val="FFFFFF">
                <a:alpha val="96862"/>
              </a:srgbClr>
            </a:solidFill>
          </p:spPr>
          <p:txBody>
            <a:bodyPr wrap="square" lIns="0" tIns="0" rIns="0" bIns="0" rtlCol="0"/>
            <a:lstStyle/>
            <a:p>
              <a:endParaRPr/>
            </a:p>
          </p:txBody>
        </p:sp>
        <p:sp>
          <p:nvSpPr>
            <p:cNvPr id="22" name="object 7"/>
            <p:cNvSpPr/>
            <p:nvPr/>
          </p:nvSpPr>
          <p:spPr>
            <a:xfrm>
              <a:off x="7113269" y="5020817"/>
              <a:ext cx="1270000" cy="1270000"/>
            </a:xfrm>
            <a:custGeom>
              <a:avLst/>
              <a:gdLst/>
              <a:ahLst/>
              <a:cxnLst/>
              <a:rect l="l" t="t" r="r" b="b"/>
              <a:pathLst>
                <a:path w="1270000" h="1270000">
                  <a:moveTo>
                    <a:pt x="0" y="634745"/>
                  </a:moveTo>
                  <a:lnTo>
                    <a:pt x="1741" y="587379"/>
                  </a:lnTo>
                  <a:lnTo>
                    <a:pt x="6883" y="540957"/>
                  </a:lnTo>
                  <a:lnTo>
                    <a:pt x="15302" y="495602"/>
                  </a:lnTo>
                  <a:lnTo>
                    <a:pt x="26877" y="451437"/>
                  </a:lnTo>
                  <a:lnTo>
                    <a:pt x="41484" y="408586"/>
                  </a:lnTo>
                  <a:lnTo>
                    <a:pt x="59001" y="367170"/>
                  </a:lnTo>
                  <a:lnTo>
                    <a:pt x="79304" y="327313"/>
                  </a:lnTo>
                  <a:lnTo>
                    <a:pt x="102271" y="289138"/>
                  </a:lnTo>
                  <a:lnTo>
                    <a:pt x="127779" y="252766"/>
                  </a:lnTo>
                  <a:lnTo>
                    <a:pt x="155706" y="218322"/>
                  </a:lnTo>
                  <a:lnTo>
                    <a:pt x="185927" y="185927"/>
                  </a:lnTo>
                  <a:lnTo>
                    <a:pt x="218322" y="155706"/>
                  </a:lnTo>
                  <a:lnTo>
                    <a:pt x="252766" y="127779"/>
                  </a:lnTo>
                  <a:lnTo>
                    <a:pt x="289138" y="102271"/>
                  </a:lnTo>
                  <a:lnTo>
                    <a:pt x="327313" y="79304"/>
                  </a:lnTo>
                  <a:lnTo>
                    <a:pt x="367170" y="59001"/>
                  </a:lnTo>
                  <a:lnTo>
                    <a:pt x="408586" y="41484"/>
                  </a:lnTo>
                  <a:lnTo>
                    <a:pt x="451437" y="26877"/>
                  </a:lnTo>
                  <a:lnTo>
                    <a:pt x="495602" y="15302"/>
                  </a:lnTo>
                  <a:lnTo>
                    <a:pt x="540957" y="6883"/>
                  </a:lnTo>
                  <a:lnTo>
                    <a:pt x="587379" y="1741"/>
                  </a:lnTo>
                  <a:lnTo>
                    <a:pt x="634746" y="0"/>
                  </a:lnTo>
                  <a:lnTo>
                    <a:pt x="682112" y="1741"/>
                  </a:lnTo>
                  <a:lnTo>
                    <a:pt x="728534" y="6883"/>
                  </a:lnTo>
                  <a:lnTo>
                    <a:pt x="773889" y="15302"/>
                  </a:lnTo>
                  <a:lnTo>
                    <a:pt x="818054" y="26877"/>
                  </a:lnTo>
                  <a:lnTo>
                    <a:pt x="860905" y="41484"/>
                  </a:lnTo>
                  <a:lnTo>
                    <a:pt x="902321" y="59001"/>
                  </a:lnTo>
                  <a:lnTo>
                    <a:pt x="942178" y="79304"/>
                  </a:lnTo>
                  <a:lnTo>
                    <a:pt x="980353" y="102271"/>
                  </a:lnTo>
                  <a:lnTo>
                    <a:pt x="1016725" y="127779"/>
                  </a:lnTo>
                  <a:lnTo>
                    <a:pt x="1051169" y="155706"/>
                  </a:lnTo>
                  <a:lnTo>
                    <a:pt x="1083563" y="185927"/>
                  </a:lnTo>
                  <a:lnTo>
                    <a:pt x="1113785" y="218322"/>
                  </a:lnTo>
                  <a:lnTo>
                    <a:pt x="1141712" y="252766"/>
                  </a:lnTo>
                  <a:lnTo>
                    <a:pt x="1167220" y="289138"/>
                  </a:lnTo>
                  <a:lnTo>
                    <a:pt x="1190187" y="327313"/>
                  </a:lnTo>
                  <a:lnTo>
                    <a:pt x="1210490" y="367170"/>
                  </a:lnTo>
                  <a:lnTo>
                    <a:pt x="1228007" y="408586"/>
                  </a:lnTo>
                  <a:lnTo>
                    <a:pt x="1242614" y="451437"/>
                  </a:lnTo>
                  <a:lnTo>
                    <a:pt x="1254189" y="495602"/>
                  </a:lnTo>
                  <a:lnTo>
                    <a:pt x="1262608" y="540957"/>
                  </a:lnTo>
                  <a:lnTo>
                    <a:pt x="1267750" y="587379"/>
                  </a:lnTo>
                  <a:lnTo>
                    <a:pt x="1269491" y="634745"/>
                  </a:lnTo>
                  <a:lnTo>
                    <a:pt x="1267750" y="682117"/>
                  </a:lnTo>
                  <a:lnTo>
                    <a:pt x="1262608" y="728543"/>
                  </a:lnTo>
                  <a:lnTo>
                    <a:pt x="1254189" y="773901"/>
                  </a:lnTo>
                  <a:lnTo>
                    <a:pt x="1242614" y="818068"/>
                  </a:lnTo>
                  <a:lnTo>
                    <a:pt x="1228007" y="860921"/>
                  </a:lnTo>
                  <a:lnTo>
                    <a:pt x="1210490" y="902337"/>
                  </a:lnTo>
                  <a:lnTo>
                    <a:pt x="1190187" y="942195"/>
                  </a:lnTo>
                  <a:lnTo>
                    <a:pt x="1167220" y="980370"/>
                  </a:lnTo>
                  <a:lnTo>
                    <a:pt x="1141712" y="1016741"/>
                  </a:lnTo>
                  <a:lnTo>
                    <a:pt x="1113785" y="1051185"/>
                  </a:lnTo>
                  <a:lnTo>
                    <a:pt x="1083564" y="1083578"/>
                  </a:lnTo>
                  <a:lnTo>
                    <a:pt x="1051169" y="1113798"/>
                  </a:lnTo>
                  <a:lnTo>
                    <a:pt x="1016725" y="1141723"/>
                  </a:lnTo>
                  <a:lnTo>
                    <a:pt x="980353" y="1167229"/>
                  </a:lnTo>
                  <a:lnTo>
                    <a:pt x="942178" y="1190195"/>
                  </a:lnTo>
                  <a:lnTo>
                    <a:pt x="902321" y="1210496"/>
                  </a:lnTo>
                  <a:lnTo>
                    <a:pt x="860905" y="1228011"/>
                  </a:lnTo>
                  <a:lnTo>
                    <a:pt x="818054" y="1242617"/>
                  </a:lnTo>
                  <a:lnTo>
                    <a:pt x="773889" y="1254190"/>
                  </a:lnTo>
                  <a:lnTo>
                    <a:pt x="728534" y="1262609"/>
                  </a:lnTo>
                  <a:lnTo>
                    <a:pt x="682112" y="1267750"/>
                  </a:lnTo>
                  <a:lnTo>
                    <a:pt x="634746" y="1269491"/>
                  </a:lnTo>
                  <a:lnTo>
                    <a:pt x="587379" y="1267750"/>
                  </a:lnTo>
                  <a:lnTo>
                    <a:pt x="540957" y="1262609"/>
                  </a:lnTo>
                  <a:lnTo>
                    <a:pt x="495602" y="1254190"/>
                  </a:lnTo>
                  <a:lnTo>
                    <a:pt x="451437" y="1242617"/>
                  </a:lnTo>
                  <a:lnTo>
                    <a:pt x="408586" y="1228011"/>
                  </a:lnTo>
                  <a:lnTo>
                    <a:pt x="367170" y="1210496"/>
                  </a:lnTo>
                  <a:lnTo>
                    <a:pt x="327313" y="1190195"/>
                  </a:lnTo>
                  <a:lnTo>
                    <a:pt x="289138" y="1167229"/>
                  </a:lnTo>
                  <a:lnTo>
                    <a:pt x="252766" y="1141723"/>
                  </a:lnTo>
                  <a:lnTo>
                    <a:pt x="218322" y="1113798"/>
                  </a:lnTo>
                  <a:lnTo>
                    <a:pt x="185928" y="1083578"/>
                  </a:lnTo>
                  <a:lnTo>
                    <a:pt x="155706" y="1051185"/>
                  </a:lnTo>
                  <a:lnTo>
                    <a:pt x="127779" y="1016741"/>
                  </a:lnTo>
                  <a:lnTo>
                    <a:pt x="102271" y="980370"/>
                  </a:lnTo>
                  <a:lnTo>
                    <a:pt x="79304" y="942195"/>
                  </a:lnTo>
                  <a:lnTo>
                    <a:pt x="59001" y="902337"/>
                  </a:lnTo>
                  <a:lnTo>
                    <a:pt x="41484" y="860921"/>
                  </a:lnTo>
                  <a:lnTo>
                    <a:pt x="26877" y="818068"/>
                  </a:lnTo>
                  <a:lnTo>
                    <a:pt x="15302" y="773901"/>
                  </a:lnTo>
                  <a:lnTo>
                    <a:pt x="6883" y="728543"/>
                  </a:lnTo>
                  <a:lnTo>
                    <a:pt x="1741" y="682117"/>
                  </a:lnTo>
                  <a:lnTo>
                    <a:pt x="0" y="634745"/>
                  </a:lnTo>
                  <a:close/>
                </a:path>
              </a:pathLst>
            </a:custGeom>
            <a:ln w="25400">
              <a:solidFill>
                <a:srgbClr val="FFFFFF"/>
              </a:solidFill>
            </a:ln>
          </p:spPr>
          <p:txBody>
            <a:bodyPr wrap="square" lIns="0" tIns="0" rIns="0" bIns="0" rtlCol="0"/>
            <a:lstStyle/>
            <a:p>
              <a:endParaRPr/>
            </a:p>
          </p:txBody>
        </p:sp>
        <p:pic>
          <p:nvPicPr>
            <p:cNvPr id="23" name="object 8"/>
            <p:cNvPicPr/>
            <p:nvPr/>
          </p:nvPicPr>
          <p:blipFill>
            <a:blip r:embed="rId4" cstate="print"/>
            <a:stretch>
              <a:fillRect/>
            </a:stretch>
          </p:blipFill>
          <p:spPr>
            <a:xfrm>
              <a:off x="7382255" y="5265419"/>
              <a:ext cx="729996" cy="810768"/>
            </a:xfrm>
            <a:prstGeom prst="rect">
              <a:avLst/>
            </a:prstGeom>
          </p:spPr>
        </p:pic>
      </p:grpSp>
      <p:pic>
        <p:nvPicPr>
          <p:cNvPr id="24" name="object 17"/>
          <p:cNvPicPr/>
          <p:nvPr/>
        </p:nvPicPr>
        <p:blipFill>
          <a:blip r:embed="rId5" cstate="print"/>
          <a:stretch>
            <a:fillRect/>
          </a:stretch>
        </p:blipFill>
        <p:spPr>
          <a:xfrm>
            <a:off x="4562495" y="2253917"/>
            <a:ext cx="3214442" cy="1413225"/>
          </a:xfrm>
          <a:prstGeom prst="rect">
            <a:avLst/>
          </a:prstGeom>
        </p:spPr>
      </p:pic>
      <p:pic>
        <p:nvPicPr>
          <p:cNvPr id="25" name="object 2"/>
          <p:cNvPicPr/>
          <p:nvPr/>
        </p:nvPicPr>
        <p:blipFill>
          <a:blip r:embed="rId6" cstate="print"/>
          <a:stretch>
            <a:fillRect/>
          </a:stretch>
        </p:blipFill>
        <p:spPr>
          <a:xfrm>
            <a:off x="1981200" y="4813752"/>
            <a:ext cx="1607466" cy="1568042"/>
          </a:xfrm>
          <a:prstGeom prst="rect">
            <a:avLst/>
          </a:prstGeom>
        </p:spPr>
      </p:pic>
      <p:sp>
        <p:nvSpPr>
          <p:cNvPr id="27" name="object 11"/>
          <p:cNvSpPr txBox="1"/>
          <p:nvPr/>
        </p:nvSpPr>
        <p:spPr>
          <a:xfrm>
            <a:off x="3810000" y="4889524"/>
            <a:ext cx="4572000" cy="1072088"/>
          </a:xfrm>
          <a:prstGeom prst="rect">
            <a:avLst/>
          </a:prstGeom>
        </p:spPr>
        <p:txBody>
          <a:bodyPr vert="horz" wrap="square" lIns="0" tIns="12700" rIns="0" bIns="0" rtlCol="0">
            <a:spAutoFit/>
          </a:bodyPr>
          <a:lstStyle/>
          <a:p>
            <a:pPr marL="12700" algn="ctr">
              <a:spcBef>
                <a:spcPts val="100"/>
              </a:spcBef>
            </a:pPr>
            <a:r>
              <a:rPr lang="es-ES" sz="4400" spc="-10" dirty="0" err="1">
                <a:solidFill>
                  <a:srgbClr val="FFFFFF"/>
                </a:solidFill>
                <a:latin typeface="Calibri"/>
                <a:cs typeface="Calibri"/>
              </a:rPr>
              <a:t>Networking</a:t>
            </a:r>
            <a:r>
              <a:rPr lang="es-ES" sz="4400" spc="-10" dirty="0">
                <a:solidFill>
                  <a:srgbClr val="FFFFFF"/>
                </a:solidFill>
                <a:latin typeface="Calibri"/>
                <a:cs typeface="Calibri"/>
              </a:rPr>
              <a:t> 1 </a:t>
            </a:r>
          </a:p>
          <a:p>
            <a:pPr marL="12700" algn="ctr">
              <a:spcBef>
                <a:spcPts val="100"/>
              </a:spcBef>
            </a:pPr>
            <a:r>
              <a:rPr lang="es-ES" sz="2400" i="1" spc="-10" dirty="0">
                <a:solidFill>
                  <a:srgbClr val="FFFFFF"/>
                </a:solidFill>
                <a:latin typeface="Calibri"/>
                <a:cs typeface="Calibri"/>
              </a:rPr>
              <a:t>Presentación ETSIST UPM</a:t>
            </a:r>
            <a:endParaRPr sz="2400" dirty="0">
              <a:latin typeface="Calibri"/>
              <a:cs typeface="Calibri"/>
            </a:endParaRPr>
          </a:p>
        </p:txBody>
      </p:sp>
    </p:spTree>
    <p:extLst>
      <p:ext uri="{BB962C8B-B14F-4D97-AF65-F5344CB8AC3E}">
        <p14:creationId xmlns:p14="http://schemas.microsoft.com/office/powerpoint/2010/main" val="543508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41571F4C-C456-4131-84ED-B73C26B703DE}"/>
              </a:ext>
            </a:extLst>
          </p:cNvPr>
          <p:cNvSpPr/>
          <p:nvPr/>
        </p:nvSpPr>
        <p:spPr>
          <a:xfrm>
            <a:off x="1524000" y="-29852"/>
            <a:ext cx="9144000" cy="6887852"/>
          </a:xfrm>
          <a:custGeom>
            <a:avLst/>
            <a:gdLst/>
            <a:ahLst/>
            <a:cxnLst/>
            <a:rect l="l" t="t" r="r" b="b"/>
            <a:pathLst>
              <a:path w="4104640" h="6858000">
                <a:moveTo>
                  <a:pt x="4104132" y="0"/>
                </a:moveTo>
                <a:lnTo>
                  <a:pt x="0" y="0"/>
                </a:lnTo>
                <a:lnTo>
                  <a:pt x="0" y="6858000"/>
                </a:lnTo>
                <a:lnTo>
                  <a:pt x="4104132" y="6858000"/>
                </a:lnTo>
                <a:lnTo>
                  <a:pt x="4104132" y="0"/>
                </a:lnTo>
                <a:close/>
              </a:path>
            </a:pathLst>
          </a:custGeom>
          <a:solidFill>
            <a:srgbClr val="007BB4"/>
          </a:solidFill>
        </p:spPr>
        <p:txBody>
          <a:bodyPr wrap="square" lIns="0" tIns="0" rIns="0" bIns="0" rtlCol="0"/>
          <a:lstStyle/>
          <a:p>
            <a:endParaRPr/>
          </a:p>
        </p:txBody>
      </p:sp>
      <p:pic>
        <p:nvPicPr>
          <p:cNvPr id="2" name="object 2"/>
          <p:cNvPicPr/>
          <p:nvPr/>
        </p:nvPicPr>
        <p:blipFill rotWithShape="1">
          <a:blip r:embed="rId2" cstate="print"/>
          <a:srcRect b="34586"/>
          <a:stretch/>
        </p:blipFill>
        <p:spPr>
          <a:xfrm>
            <a:off x="4379976" y="914401"/>
            <a:ext cx="3011424" cy="914399"/>
          </a:xfrm>
          <a:prstGeom prst="rect">
            <a:avLst/>
          </a:prstGeom>
        </p:spPr>
      </p:pic>
      <p:pic>
        <p:nvPicPr>
          <p:cNvPr id="3" name="object 3"/>
          <p:cNvPicPr/>
          <p:nvPr/>
        </p:nvPicPr>
        <p:blipFill>
          <a:blip r:embed="rId3" cstate="print"/>
          <a:stretch>
            <a:fillRect/>
          </a:stretch>
        </p:blipFill>
        <p:spPr>
          <a:xfrm>
            <a:off x="8763000" y="216410"/>
            <a:ext cx="1267968" cy="1267967"/>
          </a:xfrm>
          <a:prstGeom prst="rect">
            <a:avLst/>
          </a:prstGeom>
        </p:spPr>
      </p:pic>
      <p:sp>
        <p:nvSpPr>
          <p:cNvPr id="6" name="Subtitle 2">
            <a:extLst>
              <a:ext uri="{FF2B5EF4-FFF2-40B4-BE49-F238E27FC236}">
                <a16:creationId xmlns:a16="http://schemas.microsoft.com/office/drawing/2014/main" id="{33553705-E185-418E-B0C9-EF9D33DB14BD}"/>
              </a:ext>
            </a:extLst>
          </p:cNvPr>
          <p:cNvSpPr txBox="1">
            <a:spLocks/>
          </p:cNvSpPr>
          <p:nvPr/>
        </p:nvSpPr>
        <p:spPr>
          <a:xfrm>
            <a:off x="1638300" y="2583077"/>
            <a:ext cx="8915399" cy="1661993"/>
          </a:xfrm>
          <a:prstGeom prst="rect">
            <a:avLst/>
          </a:prstGeom>
        </p:spPr>
        <p:txBody>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r>
              <a:rPr lang="en-US" sz="5400" b="1" kern="0" dirty="0">
                <a:solidFill>
                  <a:schemeClr val="bg1"/>
                </a:solidFill>
              </a:rPr>
              <a:t>INGENIERIA</a:t>
            </a:r>
          </a:p>
          <a:p>
            <a:pPr algn="ctr"/>
            <a:endParaRPr lang="en-US" sz="5400" b="1" kern="0" dirty="0">
              <a:solidFill>
                <a:schemeClr val="bg1"/>
              </a:solidFill>
            </a:endParaRPr>
          </a:p>
          <a:p>
            <a:pPr algn="ctr"/>
            <a:r>
              <a:rPr lang="en-US" sz="5400" b="1" kern="0" dirty="0">
                <a:solidFill>
                  <a:schemeClr val="bg1"/>
                </a:solidFill>
              </a:rPr>
              <a:t>INTERNACIONAL</a:t>
            </a:r>
          </a:p>
          <a:p>
            <a:pPr algn="ctr"/>
            <a:endParaRPr lang="en-US" sz="5400" b="1" kern="0" dirty="0">
              <a:solidFill>
                <a:schemeClr val="bg1"/>
              </a:solidFill>
            </a:endParaRPr>
          </a:p>
          <a:p>
            <a:pPr algn="ctr"/>
            <a:r>
              <a:rPr lang="en-US" sz="5400" b="1" kern="0" dirty="0">
                <a:solidFill>
                  <a:schemeClr val="bg1"/>
                </a:solidFill>
              </a:rPr>
              <a:t>PROFESIONAL PRESTIGIO</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063495" y="5661659"/>
            <a:ext cx="1944624" cy="810768"/>
          </a:xfrm>
          <a:prstGeom prst="rect">
            <a:avLst/>
          </a:prstGeom>
        </p:spPr>
      </p:pic>
      <p:pic>
        <p:nvPicPr>
          <p:cNvPr id="3" name="object 3"/>
          <p:cNvPicPr/>
          <p:nvPr/>
        </p:nvPicPr>
        <p:blipFill>
          <a:blip r:embed="rId3" cstate="print"/>
          <a:stretch>
            <a:fillRect/>
          </a:stretch>
        </p:blipFill>
        <p:spPr>
          <a:xfrm>
            <a:off x="2054351" y="765049"/>
            <a:ext cx="1267968" cy="1267967"/>
          </a:xfrm>
          <a:prstGeom prst="rect">
            <a:avLst/>
          </a:prstGeom>
        </p:spPr>
      </p:pic>
      <p:sp>
        <p:nvSpPr>
          <p:cNvPr id="4" name="object 4"/>
          <p:cNvSpPr/>
          <p:nvPr/>
        </p:nvSpPr>
        <p:spPr>
          <a:xfrm>
            <a:off x="1543050" y="0"/>
            <a:ext cx="9105900" cy="6858000"/>
          </a:xfrm>
          <a:custGeom>
            <a:avLst/>
            <a:gdLst/>
            <a:ahLst/>
            <a:cxnLst/>
            <a:rect l="l" t="t" r="r" b="b"/>
            <a:pathLst>
              <a:path w="4104640" h="6858000">
                <a:moveTo>
                  <a:pt x="4104132" y="0"/>
                </a:moveTo>
                <a:lnTo>
                  <a:pt x="0" y="0"/>
                </a:lnTo>
                <a:lnTo>
                  <a:pt x="0" y="6858000"/>
                </a:lnTo>
                <a:lnTo>
                  <a:pt x="4104132" y="6858000"/>
                </a:lnTo>
                <a:lnTo>
                  <a:pt x="4104132" y="0"/>
                </a:lnTo>
                <a:close/>
              </a:path>
            </a:pathLst>
          </a:custGeom>
          <a:solidFill>
            <a:srgbClr val="007BB4"/>
          </a:solidFill>
        </p:spPr>
        <p:txBody>
          <a:bodyPr wrap="square" lIns="0" tIns="0" rIns="0" bIns="0" rtlCol="0"/>
          <a:lstStyle/>
          <a:p>
            <a:endParaRPr/>
          </a:p>
        </p:txBody>
      </p:sp>
      <p:sp>
        <p:nvSpPr>
          <p:cNvPr id="5" name="object 5"/>
          <p:cNvSpPr txBox="1"/>
          <p:nvPr/>
        </p:nvSpPr>
        <p:spPr>
          <a:xfrm>
            <a:off x="6013196" y="76200"/>
            <a:ext cx="3588004" cy="10785004"/>
          </a:xfrm>
          <a:prstGeom prst="rect">
            <a:avLst/>
          </a:prstGeom>
        </p:spPr>
        <p:txBody>
          <a:bodyPr vert="horz" wrap="square" lIns="0" tIns="12700" rIns="0" bIns="0" rtlCol="0">
            <a:spAutoFit/>
          </a:bodyPr>
          <a:lstStyle/>
          <a:p>
            <a:pPr marL="93345" indent="-81280">
              <a:spcBef>
                <a:spcPts val="100"/>
              </a:spcBef>
              <a:buSzPct val="94444"/>
              <a:buFont typeface="Arial"/>
              <a:buChar char="•"/>
              <a:tabLst>
                <a:tab pos="93980" algn="l"/>
              </a:tabLst>
            </a:pPr>
            <a:r>
              <a:rPr sz="2800" b="1" spc="-5" dirty="0">
                <a:solidFill>
                  <a:srgbClr val="FFFFFF"/>
                </a:solidFill>
                <a:latin typeface="Calibri"/>
                <a:cs typeface="Calibri"/>
              </a:rPr>
              <a:t>Aerospace</a:t>
            </a:r>
            <a:r>
              <a:rPr sz="2800" b="1" spc="-30" dirty="0">
                <a:solidFill>
                  <a:srgbClr val="FFFFFF"/>
                </a:solidFill>
                <a:latin typeface="Calibri"/>
                <a:cs typeface="Calibri"/>
              </a:rPr>
              <a:t> </a:t>
            </a:r>
            <a:r>
              <a:rPr sz="2800" b="1" dirty="0">
                <a:solidFill>
                  <a:srgbClr val="FFFFFF"/>
                </a:solidFill>
                <a:latin typeface="Calibri"/>
                <a:cs typeface="Calibri"/>
              </a:rPr>
              <a:t>&amp;</a:t>
            </a:r>
            <a:r>
              <a:rPr sz="2800" b="1" spc="-55" dirty="0">
                <a:solidFill>
                  <a:srgbClr val="FFFFFF"/>
                </a:solidFill>
                <a:latin typeface="Calibri"/>
                <a:cs typeface="Calibri"/>
              </a:rPr>
              <a:t> </a:t>
            </a:r>
            <a:r>
              <a:rPr sz="2800" b="1" spc="-10" dirty="0">
                <a:solidFill>
                  <a:srgbClr val="FFFFFF"/>
                </a:solidFill>
                <a:latin typeface="Calibri"/>
                <a:cs typeface="Calibri"/>
              </a:rPr>
              <a:t>Defense</a:t>
            </a:r>
            <a:endParaRPr sz="2800" dirty="0">
              <a:latin typeface="Calibri"/>
              <a:cs typeface="Calibri"/>
            </a:endParaRPr>
          </a:p>
          <a:p>
            <a:pPr marL="93345" indent="-81280">
              <a:spcBef>
                <a:spcPts val="5"/>
              </a:spcBef>
              <a:buSzPct val="94444"/>
              <a:buFont typeface="Arial"/>
              <a:buChar char="•"/>
              <a:tabLst>
                <a:tab pos="93980" algn="l"/>
              </a:tabLst>
            </a:pPr>
            <a:r>
              <a:rPr sz="2800" b="1" spc="-5" dirty="0">
                <a:solidFill>
                  <a:srgbClr val="FFFFFF"/>
                </a:solidFill>
                <a:latin typeface="Calibri"/>
                <a:cs typeface="Calibri"/>
              </a:rPr>
              <a:t>Biomedical</a:t>
            </a:r>
            <a:r>
              <a:rPr sz="2800" b="1" spc="-55" dirty="0">
                <a:solidFill>
                  <a:srgbClr val="FFFFFF"/>
                </a:solidFill>
                <a:latin typeface="Calibri"/>
                <a:cs typeface="Calibri"/>
              </a:rPr>
              <a:t> </a:t>
            </a:r>
            <a:r>
              <a:rPr sz="2800" b="1" spc="-5" dirty="0">
                <a:solidFill>
                  <a:srgbClr val="FFFFFF"/>
                </a:solidFill>
                <a:latin typeface="Calibri"/>
                <a:cs typeface="Calibri"/>
              </a:rPr>
              <a:t>Engineering</a:t>
            </a:r>
            <a:endParaRPr sz="2800" dirty="0">
              <a:latin typeface="Calibri"/>
              <a:cs typeface="Calibri"/>
            </a:endParaRPr>
          </a:p>
          <a:p>
            <a:pPr marL="93345" indent="-81280">
              <a:buSzPct val="94444"/>
              <a:buFont typeface="Arial"/>
              <a:buChar char="•"/>
              <a:tabLst>
                <a:tab pos="93980" algn="l"/>
              </a:tabLst>
            </a:pPr>
            <a:r>
              <a:rPr lang="en-US" sz="2800" b="1" spc="-10" dirty="0">
                <a:solidFill>
                  <a:srgbClr val="FFFFFF"/>
                </a:solidFill>
                <a:latin typeface="Calibri"/>
                <a:cs typeface="Calibri"/>
              </a:rPr>
              <a:t>Cloud Computing</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Circuits</a:t>
            </a:r>
            <a:endParaRPr sz="32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Communications</a:t>
            </a:r>
            <a:endParaRPr sz="2800" dirty="0">
              <a:latin typeface="Calibri"/>
              <a:cs typeface="Calibri"/>
            </a:endParaRPr>
          </a:p>
          <a:p>
            <a:pPr marL="93345" indent="-81280">
              <a:buSzPct val="94444"/>
              <a:buFont typeface="Arial"/>
              <a:buChar char="•"/>
              <a:tabLst>
                <a:tab pos="93980" algn="l"/>
              </a:tabLst>
            </a:pPr>
            <a:r>
              <a:rPr sz="2800" b="1" spc="-5" dirty="0">
                <a:solidFill>
                  <a:srgbClr val="FFFFFF"/>
                </a:solidFill>
                <a:latin typeface="Calibri"/>
                <a:cs typeface="Calibri"/>
              </a:rPr>
              <a:t>Computer</a:t>
            </a:r>
            <a:r>
              <a:rPr sz="2800" b="1" spc="-70" dirty="0">
                <a:solidFill>
                  <a:srgbClr val="FFFFFF"/>
                </a:solidFill>
                <a:latin typeface="Calibri"/>
                <a:cs typeface="Calibri"/>
              </a:rPr>
              <a:t> </a:t>
            </a:r>
            <a:r>
              <a:rPr sz="2800" b="1" dirty="0">
                <a:solidFill>
                  <a:srgbClr val="FFFFFF"/>
                </a:solidFill>
                <a:latin typeface="Calibri"/>
                <a:cs typeface="Calibri"/>
              </a:rPr>
              <a:t>Science</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Control</a:t>
            </a:r>
            <a:r>
              <a:rPr sz="2800" b="1" spc="-30" dirty="0">
                <a:solidFill>
                  <a:srgbClr val="FFFFFF"/>
                </a:solidFill>
                <a:latin typeface="Calibri"/>
                <a:cs typeface="Calibri"/>
              </a:rPr>
              <a:t> </a:t>
            </a:r>
            <a:r>
              <a:rPr sz="2800" b="1" dirty="0">
                <a:solidFill>
                  <a:srgbClr val="FFFFFF"/>
                </a:solidFill>
                <a:latin typeface="Calibri"/>
                <a:cs typeface="Calibri"/>
              </a:rPr>
              <a:t>and</a:t>
            </a:r>
            <a:r>
              <a:rPr sz="2800" b="1" spc="-55" dirty="0">
                <a:solidFill>
                  <a:srgbClr val="FFFFFF"/>
                </a:solidFill>
                <a:latin typeface="Calibri"/>
                <a:cs typeface="Calibri"/>
              </a:rPr>
              <a:t> </a:t>
            </a:r>
            <a:r>
              <a:rPr sz="2800" b="1" spc="-5" dirty="0">
                <a:solidFill>
                  <a:srgbClr val="FFFFFF"/>
                </a:solidFill>
                <a:latin typeface="Calibri"/>
                <a:cs typeface="Calibri"/>
              </a:rPr>
              <a:t>Automation</a:t>
            </a:r>
            <a:endParaRPr sz="2800" dirty="0">
              <a:latin typeface="Calibri"/>
              <a:cs typeface="Calibri"/>
            </a:endParaRPr>
          </a:p>
          <a:p>
            <a:pPr marL="93345" indent="-81280">
              <a:buSzPct val="94444"/>
              <a:buFont typeface="Arial"/>
              <a:buChar char="•"/>
              <a:tabLst>
                <a:tab pos="93980" algn="l"/>
              </a:tabLst>
            </a:pPr>
            <a:r>
              <a:rPr sz="2800" b="1" spc="-5" dirty="0">
                <a:solidFill>
                  <a:srgbClr val="FFFFFF"/>
                </a:solidFill>
                <a:latin typeface="Calibri"/>
                <a:cs typeface="Calibri"/>
              </a:rPr>
              <a:t>Cyber</a:t>
            </a:r>
            <a:r>
              <a:rPr sz="2800" b="1" spc="-55" dirty="0">
                <a:solidFill>
                  <a:srgbClr val="FFFFFF"/>
                </a:solidFill>
                <a:latin typeface="Calibri"/>
                <a:cs typeface="Calibri"/>
              </a:rPr>
              <a:t> </a:t>
            </a:r>
            <a:r>
              <a:rPr sz="2800" b="1" spc="-5" dirty="0">
                <a:solidFill>
                  <a:srgbClr val="FFFFFF"/>
                </a:solidFill>
                <a:latin typeface="Calibri"/>
                <a:cs typeface="Calibri"/>
              </a:rPr>
              <a:t>Security</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Electronics</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Environment</a:t>
            </a:r>
            <a:endParaRPr sz="2800" dirty="0">
              <a:latin typeface="Calibri"/>
              <a:cs typeface="Calibri"/>
            </a:endParaRPr>
          </a:p>
          <a:p>
            <a:pPr marL="93345" indent="-81280">
              <a:buSzPct val="94444"/>
              <a:buFont typeface="Arial"/>
              <a:buChar char="•"/>
              <a:tabLst>
                <a:tab pos="93980" algn="l"/>
              </a:tabLst>
            </a:pPr>
            <a:r>
              <a:rPr sz="2800" b="1" spc="-5" dirty="0">
                <a:solidFill>
                  <a:srgbClr val="FFFFFF"/>
                </a:solidFill>
                <a:latin typeface="Calibri"/>
                <a:cs typeface="Calibri"/>
              </a:rPr>
              <a:t>Industrial</a:t>
            </a:r>
            <a:r>
              <a:rPr sz="2800" b="1" spc="-80" dirty="0">
                <a:solidFill>
                  <a:srgbClr val="FFFFFF"/>
                </a:solidFill>
                <a:latin typeface="Calibri"/>
                <a:cs typeface="Calibri"/>
              </a:rPr>
              <a:t> </a:t>
            </a:r>
            <a:r>
              <a:rPr sz="2800" b="1" spc="-15" dirty="0">
                <a:solidFill>
                  <a:srgbClr val="FFFFFF"/>
                </a:solidFill>
                <a:latin typeface="Calibri"/>
                <a:cs typeface="Calibri"/>
              </a:rPr>
              <a:t>systems</a:t>
            </a:r>
            <a:endParaRPr sz="2800" dirty="0">
              <a:latin typeface="Calibri"/>
              <a:cs typeface="Calibri"/>
            </a:endParaRPr>
          </a:p>
          <a:p>
            <a:pPr marL="93345" indent="-81280">
              <a:spcBef>
                <a:spcPts val="5"/>
              </a:spcBef>
              <a:buSzPct val="94444"/>
              <a:buFont typeface="Arial"/>
              <a:buChar char="•"/>
              <a:tabLst>
                <a:tab pos="93980" algn="l"/>
              </a:tabLst>
            </a:pPr>
            <a:r>
              <a:rPr sz="2800" b="1" spc="-10" dirty="0">
                <a:solidFill>
                  <a:srgbClr val="FFFFFF"/>
                </a:solidFill>
                <a:latin typeface="Calibri"/>
                <a:cs typeface="Calibri"/>
              </a:rPr>
              <a:t>Information</a:t>
            </a:r>
            <a:r>
              <a:rPr sz="2800" b="1" spc="-15" dirty="0">
                <a:solidFill>
                  <a:srgbClr val="FFFFFF"/>
                </a:solidFill>
                <a:latin typeface="Calibri"/>
                <a:cs typeface="Calibri"/>
              </a:rPr>
              <a:t> </a:t>
            </a:r>
            <a:r>
              <a:rPr sz="2800" b="1" spc="-25" dirty="0">
                <a:solidFill>
                  <a:srgbClr val="FFFFFF"/>
                </a:solidFill>
                <a:latin typeface="Calibri"/>
                <a:cs typeface="Calibri"/>
              </a:rPr>
              <a:t>Technology</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Internet</a:t>
            </a:r>
            <a:r>
              <a:rPr sz="2800" b="1" spc="-60" dirty="0">
                <a:solidFill>
                  <a:srgbClr val="FFFFFF"/>
                </a:solidFill>
                <a:latin typeface="Calibri"/>
                <a:cs typeface="Calibri"/>
              </a:rPr>
              <a:t> </a:t>
            </a:r>
            <a:r>
              <a:rPr sz="2800" b="1" dirty="0">
                <a:solidFill>
                  <a:srgbClr val="FFFFFF"/>
                </a:solidFill>
                <a:latin typeface="Calibri"/>
                <a:cs typeface="Calibri"/>
              </a:rPr>
              <a:t>of</a:t>
            </a:r>
            <a:r>
              <a:rPr sz="2800" b="1" spc="-20" dirty="0">
                <a:solidFill>
                  <a:srgbClr val="FFFFFF"/>
                </a:solidFill>
                <a:latin typeface="Calibri"/>
                <a:cs typeface="Calibri"/>
              </a:rPr>
              <a:t> </a:t>
            </a:r>
            <a:r>
              <a:rPr sz="2800" b="1" spc="-5" dirty="0">
                <a:solidFill>
                  <a:srgbClr val="FFFFFF"/>
                </a:solidFill>
                <a:latin typeface="Calibri"/>
                <a:cs typeface="Calibri"/>
              </a:rPr>
              <a:t>Things</a:t>
            </a:r>
            <a:endParaRPr sz="2800" dirty="0">
              <a:latin typeface="Calibri"/>
              <a:cs typeface="Calibri"/>
            </a:endParaRPr>
          </a:p>
          <a:p>
            <a:pPr marL="93345" indent="-81280">
              <a:buSzPct val="94444"/>
              <a:buFont typeface="Arial"/>
              <a:buChar char="•"/>
              <a:tabLst>
                <a:tab pos="93980" algn="l"/>
              </a:tabLst>
            </a:pPr>
            <a:r>
              <a:rPr sz="2800" b="1" spc="-15" dirty="0">
                <a:solidFill>
                  <a:srgbClr val="FFFFFF"/>
                </a:solidFill>
                <a:latin typeface="Calibri"/>
                <a:cs typeface="Calibri"/>
              </a:rPr>
              <a:t>Life</a:t>
            </a:r>
            <a:r>
              <a:rPr sz="2800" b="1" spc="-20" dirty="0">
                <a:solidFill>
                  <a:srgbClr val="FFFFFF"/>
                </a:solidFill>
                <a:latin typeface="Calibri"/>
                <a:cs typeface="Calibri"/>
              </a:rPr>
              <a:t> </a:t>
            </a:r>
            <a:r>
              <a:rPr sz="2800" b="1" spc="-5" dirty="0">
                <a:solidFill>
                  <a:srgbClr val="FFFFFF"/>
                </a:solidFill>
                <a:latin typeface="Calibri"/>
                <a:cs typeface="Calibri"/>
              </a:rPr>
              <a:t>Sciences</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Nanotechnology</a:t>
            </a:r>
            <a:endParaRPr sz="2800" dirty="0">
              <a:latin typeface="Calibri"/>
              <a:cs typeface="Calibri"/>
            </a:endParaRPr>
          </a:p>
          <a:p>
            <a:pPr marL="93345" indent="-81280">
              <a:buSzPct val="94444"/>
              <a:buFont typeface="Arial"/>
              <a:buChar char="•"/>
              <a:tabLst>
                <a:tab pos="93980" algn="l"/>
              </a:tabLst>
            </a:pPr>
            <a:r>
              <a:rPr sz="2800" b="1" spc="-5" dirty="0">
                <a:solidFill>
                  <a:srgbClr val="FFFFFF"/>
                </a:solidFill>
                <a:latin typeface="Calibri"/>
                <a:cs typeface="Calibri"/>
              </a:rPr>
              <a:t>Optics</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Power</a:t>
            </a:r>
            <a:r>
              <a:rPr sz="2800" b="1" spc="-50" dirty="0">
                <a:solidFill>
                  <a:srgbClr val="FFFFFF"/>
                </a:solidFill>
                <a:latin typeface="Calibri"/>
                <a:cs typeface="Calibri"/>
              </a:rPr>
              <a:t> </a:t>
            </a:r>
            <a:r>
              <a:rPr sz="2800" b="1" dirty="0">
                <a:solidFill>
                  <a:srgbClr val="FFFFFF"/>
                </a:solidFill>
                <a:latin typeface="Calibri"/>
                <a:cs typeface="Calibri"/>
              </a:rPr>
              <a:t>and</a:t>
            </a:r>
            <a:r>
              <a:rPr sz="2800" b="1" spc="-40" dirty="0">
                <a:solidFill>
                  <a:srgbClr val="FFFFFF"/>
                </a:solidFill>
                <a:latin typeface="Calibri"/>
                <a:cs typeface="Calibri"/>
              </a:rPr>
              <a:t> </a:t>
            </a:r>
            <a:r>
              <a:rPr sz="2800" b="1" spc="-10" dirty="0">
                <a:solidFill>
                  <a:srgbClr val="FFFFFF"/>
                </a:solidFill>
                <a:latin typeface="Calibri"/>
                <a:cs typeface="Calibri"/>
              </a:rPr>
              <a:t>Energy</a:t>
            </a:r>
            <a:endParaRPr sz="2800" dirty="0">
              <a:latin typeface="Calibri"/>
              <a:cs typeface="Calibri"/>
            </a:endParaRPr>
          </a:p>
          <a:p>
            <a:pPr marL="93345" indent="-81280">
              <a:buSzPct val="94444"/>
              <a:buFont typeface="Arial"/>
              <a:buChar char="•"/>
              <a:tabLst>
                <a:tab pos="93980" algn="l"/>
              </a:tabLst>
            </a:pPr>
            <a:r>
              <a:rPr sz="2800" b="1" spc="-5" dirty="0">
                <a:solidFill>
                  <a:srgbClr val="FFFFFF"/>
                </a:solidFill>
                <a:latin typeface="Calibri"/>
                <a:cs typeface="Calibri"/>
              </a:rPr>
              <a:t>Robotics</a:t>
            </a:r>
            <a:r>
              <a:rPr sz="2800" b="1" spc="-70" dirty="0">
                <a:solidFill>
                  <a:srgbClr val="FFFFFF"/>
                </a:solidFill>
                <a:latin typeface="Calibri"/>
                <a:cs typeface="Calibri"/>
              </a:rPr>
              <a:t> </a:t>
            </a:r>
            <a:r>
              <a:rPr sz="2800" b="1" dirty="0">
                <a:solidFill>
                  <a:srgbClr val="FFFFFF"/>
                </a:solidFill>
                <a:latin typeface="Calibri"/>
                <a:cs typeface="Calibri"/>
              </a:rPr>
              <a:t>and</a:t>
            </a:r>
            <a:r>
              <a:rPr sz="2800" b="1" spc="-30" dirty="0">
                <a:solidFill>
                  <a:srgbClr val="FFFFFF"/>
                </a:solidFill>
                <a:latin typeface="Calibri"/>
                <a:cs typeface="Calibri"/>
              </a:rPr>
              <a:t> </a:t>
            </a:r>
            <a:r>
              <a:rPr sz="2800" b="1" dirty="0">
                <a:solidFill>
                  <a:srgbClr val="FFFFFF"/>
                </a:solidFill>
                <a:latin typeface="Calibri"/>
                <a:cs typeface="Calibri"/>
              </a:rPr>
              <a:t>AI</a:t>
            </a:r>
            <a:endParaRPr sz="2800" dirty="0">
              <a:latin typeface="Calibri"/>
              <a:cs typeface="Calibri"/>
            </a:endParaRPr>
          </a:p>
          <a:p>
            <a:pPr marL="93345" indent="-81280">
              <a:buSzPct val="94444"/>
              <a:buFont typeface="Arial"/>
              <a:buChar char="•"/>
              <a:tabLst>
                <a:tab pos="93980" algn="l"/>
              </a:tabLst>
            </a:pPr>
            <a:r>
              <a:rPr sz="2800" b="1" spc="-10" dirty="0">
                <a:solidFill>
                  <a:srgbClr val="FFFFFF"/>
                </a:solidFill>
                <a:latin typeface="Calibri"/>
                <a:cs typeface="Calibri"/>
              </a:rPr>
              <a:t>Semiconductors</a:t>
            </a:r>
            <a:endParaRPr sz="2800" dirty="0">
              <a:latin typeface="Calibri"/>
              <a:cs typeface="Calibri"/>
            </a:endParaRPr>
          </a:p>
          <a:p>
            <a:pPr marL="93345" indent="-81280">
              <a:buSzPct val="94444"/>
              <a:buFont typeface="Arial"/>
              <a:buChar char="•"/>
              <a:tabLst>
                <a:tab pos="93980" algn="l"/>
              </a:tabLst>
            </a:pPr>
            <a:r>
              <a:rPr sz="2800" b="1" spc="-5" dirty="0">
                <a:solidFill>
                  <a:srgbClr val="FFFFFF"/>
                </a:solidFill>
                <a:latin typeface="Calibri"/>
                <a:cs typeface="Calibri"/>
              </a:rPr>
              <a:t>SmartCities</a:t>
            </a:r>
            <a:endParaRPr sz="2800" dirty="0">
              <a:latin typeface="Calibri"/>
              <a:cs typeface="Calibri"/>
            </a:endParaRPr>
          </a:p>
          <a:p>
            <a:pPr marL="93345" indent="-81280">
              <a:buSzPct val="94444"/>
              <a:buFont typeface="Arial"/>
              <a:buChar char="•"/>
              <a:tabLst>
                <a:tab pos="93980" algn="l"/>
              </a:tabLst>
            </a:pPr>
            <a:r>
              <a:rPr sz="2800" b="1" dirty="0">
                <a:solidFill>
                  <a:srgbClr val="FFFFFF"/>
                </a:solidFill>
                <a:latin typeface="Calibri"/>
                <a:cs typeface="Calibri"/>
              </a:rPr>
              <a:t>Smart</a:t>
            </a:r>
            <a:r>
              <a:rPr sz="2800" b="1" spc="-60" dirty="0">
                <a:solidFill>
                  <a:srgbClr val="FFFFFF"/>
                </a:solidFill>
                <a:latin typeface="Calibri"/>
                <a:cs typeface="Calibri"/>
              </a:rPr>
              <a:t> </a:t>
            </a:r>
            <a:r>
              <a:rPr sz="2800" b="1" spc="-5" dirty="0">
                <a:solidFill>
                  <a:srgbClr val="FFFFFF"/>
                </a:solidFill>
                <a:latin typeface="Calibri"/>
                <a:cs typeface="Calibri"/>
              </a:rPr>
              <a:t>Grid</a:t>
            </a:r>
            <a:endParaRPr sz="2800" dirty="0">
              <a:latin typeface="Calibri"/>
              <a:cs typeface="Calibri"/>
            </a:endParaRPr>
          </a:p>
          <a:p>
            <a:pPr marL="93345" indent="-81280">
              <a:spcBef>
                <a:spcPts val="5"/>
              </a:spcBef>
              <a:buSzPct val="94444"/>
              <a:buFont typeface="Arial"/>
              <a:buChar char="•"/>
              <a:tabLst>
                <a:tab pos="93980" algn="l"/>
              </a:tabLst>
            </a:pPr>
            <a:r>
              <a:rPr sz="2800" b="1" spc="-10" dirty="0">
                <a:solidFill>
                  <a:srgbClr val="FFFFFF"/>
                </a:solidFill>
                <a:latin typeface="Calibri"/>
                <a:cs typeface="Calibri"/>
              </a:rPr>
              <a:t>Sustainable</a:t>
            </a:r>
            <a:r>
              <a:rPr sz="2800" b="1" spc="-50" dirty="0">
                <a:solidFill>
                  <a:srgbClr val="FFFFFF"/>
                </a:solidFill>
                <a:latin typeface="Calibri"/>
                <a:cs typeface="Calibri"/>
              </a:rPr>
              <a:t> </a:t>
            </a:r>
            <a:r>
              <a:rPr sz="2800" b="1" spc="-10" dirty="0">
                <a:solidFill>
                  <a:srgbClr val="FFFFFF"/>
                </a:solidFill>
                <a:latin typeface="Calibri"/>
                <a:cs typeface="Calibri"/>
              </a:rPr>
              <a:t>Energy</a:t>
            </a:r>
            <a:endParaRPr sz="2800" dirty="0">
              <a:latin typeface="Calibri"/>
              <a:cs typeface="Calibri"/>
            </a:endParaRPr>
          </a:p>
          <a:p>
            <a:pPr marL="93345" indent="-81280">
              <a:buSzPct val="94444"/>
              <a:buFont typeface="Arial"/>
              <a:buChar char="•"/>
              <a:tabLst>
                <a:tab pos="93980" algn="l"/>
              </a:tabLst>
            </a:pPr>
            <a:r>
              <a:rPr sz="2800" b="1" spc="-20" dirty="0">
                <a:solidFill>
                  <a:srgbClr val="FFFFFF"/>
                </a:solidFill>
                <a:latin typeface="Calibri"/>
                <a:cs typeface="Calibri"/>
              </a:rPr>
              <a:t>Transportation</a:t>
            </a:r>
            <a:r>
              <a:rPr sz="2800" b="1" spc="-10" dirty="0">
                <a:solidFill>
                  <a:srgbClr val="FFFFFF"/>
                </a:solidFill>
                <a:latin typeface="Calibri"/>
                <a:cs typeface="Calibri"/>
              </a:rPr>
              <a:t> </a:t>
            </a:r>
            <a:r>
              <a:rPr sz="2800" b="1" dirty="0">
                <a:solidFill>
                  <a:srgbClr val="FFFFFF"/>
                </a:solidFill>
                <a:latin typeface="Calibri"/>
                <a:cs typeface="Calibri"/>
              </a:rPr>
              <a:t>and</a:t>
            </a:r>
            <a:r>
              <a:rPr sz="2800" b="1" spc="-15" dirty="0">
                <a:solidFill>
                  <a:srgbClr val="FFFFFF"/>
                </a:solidFill>
                <a:latin typeface="Calibri"/>
                <a:cs typeface="Calibri"/>
              </a:rPr>
              <a:t> </a:t>
            </a:r>
            <a:r>
              <a:rPr sz="2800" b="1" spc="-20" dirty="0">
                <a:solidFill>
                  <a:srgbClr val="FFFFFF"/>
                </a:solidFill>
                <a:latin typeface="Calibri"/>
                <a:cs typeface="Calibri"/>
              </a:rPr>
              <a:t>Vehicles</a:t>
            </a:r>
            <a:endParaRPr sz="2800" dirty="0">
              <a:latin typeface="Calibri"/>
              <a:cs typeface="Calibri"/>
            </a:endParaRPr>
          </a:p>
        </p:txBody>
      </p:sp>
      <p:pic>
        <p:nvPicPr>
          <p:cNvPr id="6" name="object 2">
            <a:extLst>
              <a:ext uri="{FF2B5EF4-FFF2-40B4-BE49-F238E27FC236}">
                <a16:creationId xmlns:a16="http://schemas.microsoft.com/office/drawing/2014/main" id="{EAFA0735-F0A7-49EF-A876-545D0127CD4B}"/>
              </a:ext>
            </a:extLst>
          </p:cNvPr>
          <p:cNvPicPr/>
          <p:nvPr/>
        </p:nvPicPr>
        <p:blipFill rotWithShape="1">
          <a:blip r:embed="rId2" cstate="print"/>
          <a:srcRect b="34586"/>
          <a:stretch/>
        </p:blipFill>
        <p:spPr>
          <a:xfrm>
            <a:off x="2196768" y="2215898"/>
            <a:ext cx="3365832" cy="1136902"/>
          </a:xfrm>
          <a:prstGeom prst="rect">
            <a:avLst/>
          </a:prstGeom>
        </p:spPr>
      </p:pic>
      <p:pic>
        <p:nvPicPr>
          <p:cNvPr id="7" name="object 3">
            <a:extLst>
              <a:ext uri="{FF2B5EF4-FFF2-40B4-BE49-F238E27FC236}">
                <a16:creationId xmlns:a16="http://schemas.microsoft.com/office/drawing/2014/main" id="{5C1C1FBF-67E8-458D-9463-312D4EFC43EF}"/>
              </a:ext>
            </a:extLst>
          </p:cNvPr>
          <p:cNvPicPr/>
          <p:nvPr/>
        </p:nvPicPr>
        <p:blipFill>
          <a:blip r:embed="rId3" cstate="print"/>
          <a:stretch>
            <a:fillRect/>
          </a:stretch>
        </p:blipFill>
        <p:spPr>
          <a:xfrm>
            <a:off x="3144139" y="4642103"/>
            <a:ext cx="1267968" cy="1267967"/>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8" name="object 3"/>
          <p:cNvPicPr/>
          <p:nvPr/>
        </p:nvPicPr>
        <p:blipFill>
          <a:blip r:embed="rId2" cstate="print"/>
          <a:stretch>
            <a:fillRect/>
          </a:stretch>
        </p:blipFill>
        <p:spPr>
          <a:xfrm>
            <a:off x="0" y="762000"/>
            <a:ext cx="12649200" cy="5562600"/>
          </a:xfrm>
          <a:prstGeom prst="rect">
            <a:avLst/>
          </a:prstGeom>
        </p:spPr>
      </p:pic>
    </p:spTree>
    <p:extLst>
      <p:ext uri="{BB962C8B-B14F-4D97-AF65-F5344CB8AC3E}">
        <p14:creationId xmlns:p14="http://schemas.microsoft.com/office/powerpoint/2010/main" val="40745526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C24F81-C28C-5F95-B639-0898D4E04C57}"/>
              </a:ext>
            </a:extLst>
          </p:cNvPr>
          <p:cNvPicPr/>
          <p:nvPr/>
        </p:nvPicPr>
        <p:blipFill>
          <a:blip r:embed="rId2"/>
          <a:srcRect l="4298" r="4298"/>
          <a:stretch/>
        </p:blipFill>
        <p:spPr>
          <a:xfrm>
            <a:off x="1524183" y="-24581"/>
            <a:ext cx="9143634" cy="6857663"/>
          </a:xfrm>
          <a:prstGeom prst="rect">
            <a:avLst/>
          </a:prstGeom>
          <a:ln>
            <a:noFill/>
          </a:ln>
        </p:spPr>
      </p:pic>
    </p:spTree>
    <p:extLst>
      <p:ext uri="{BB962C8B-B14F-4D97-AF65-F5344CB8AC3E}">
        <p14:creationId xmlns:p14="http://schemas.microsoft.com/office/powerpoint/2010/main" val="799327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56FA899-DBA9-4259-96BA-C9256AE376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B56FA899-DBA9-4259-96BA-C9256AE376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descr="Ein Bild, das Person, dunkel enthält.&#10;&#10;Automatisch generierte Beschreibung">
            <a:extLst>
              <a:ext uri="{FF2B5EF4-FFF2-40B4-BE49-F238E27FC236}">
                <a16:creationId xmlns:a16="http://schemas.microsoft.com/office/drawing/2014/main" id="{81F3F765-FA52-4DCB-9E85-ECED2D5EA64D}"/>
              </a:ext>
            </a:extLst>
          </p:cNvPr>
          <p:cNvPicPr>
            <a:picLocks noChangeAspect="1"/>
          </p:cNvPicPr>
          <p:nvPr/>
        </p:nvPicPr>
        <p:blipFill rotWithShape="1">
          <a:blip r:embed="rId6"/>
          <a:srcRect l="-11907" r="11907"/>
          <a:stretch/>
        </p:blipFill>
        <p:spPr bwMode="gray">
          <a:xfrm>
            <a:off x="0" y="0"/>
            <a:ext cx="12192000" cy="6858000"/>
          </a:xfrm>
          <a:prstGeom prst="rect">
            <a:avLst/>
          </a:prstGeom>
        </p:spPr>
      </p:pic>
      <p:sp>
        <p:nvSpPr>
          <p:cNvPr id="2" name="Title">
            <a:extLst>
              <a:ext uri="{FF2B5EF4-FFF2-40B4-BE49-F238E27FC236}">
                <a16:creationId xmlns:a16="http://schemas.microsoft.com/office/drawing/2014/main" id="{22640939-EBCC-4E8C-A674-685639852FD1}"/>
              </a:ext>
            </a:extLst>
          </p:cNvPr>
          <p:cNvSpPr>
            <a:spLocks noGrp="1"/>
          </p:cNvSpPr>
          <p:nvPr>
            <p:ph type="title"/>
          </p:nvPr>
        </p:nvSpPr>
        <p:spPr bwMode="gray">
          <a:xfrm>
            <a:off x="1" y="1"/>
            <a:ext cx="9659938" cy="1414462"/>
          </a:xfrm>
        </p:spPr>
        <p:txBody>
          <a:bodyPr vert="horz"/>
          <a:lstStyle/>
          <a:p>
            <a:r>
              <a:rPr lang="en-US" sz="3600" noProof="0" dirty="0"/>
              <a:t>INDICE</a:t>
            </a:r>
            <a:endParaRPr lang="en-US" noProof="0" dirty="0"/>
          </a:p>
        </p:txBody>
      </p:sp>
      <p:graphicFrame>
        <p:nvGraphicFramePr>
          <p:cNvPr id="9" name="Table of contents"/>
          <p:cNvGraphicFramePr>
            <a:graphicFrameLocks noGrp="1"/>
          </p:cNvGraphicFramePr>
          <p:nvPr>
            <p:ph type="tbl" sz="quarter" idx="10"/>
            <p:extLst>
              <p:ext uri="{D42A27DB-BD31-4B8C-83A1-F6EECF244321}">
                <p14:modId xmlns:p14="http://schemas.microsoft.com/office/powerpoint/2010/main" val="2701091408"/>
              </p:ext>
            </p:extLst>
          </p:nvPr>
        </p:nvGraphicFramePr>
        <p:xfrm>
          <a:off x="762000" y="1414463"/>
          <a:ext cx="6840538" cy="4233600"/>
        </p:xfrm>
        <a:graphic>
          <a:graphicData uri="http://schemas.openxmlformats.org/drawingml/2006/table">
            <a:tbl>
              <a:tblPr firstRow="1" bandRow="1">
                <a:tableStyleId>{5C22544A-7EE6-4342-B048-85BDC9FD1C3A}</a:tableStyleId>
              </a:tblPr>
              <a:tblGrid>
                <a:gridCol w="1242240">
                  <a:extLst>
                    <a:ext uri="{9D8B030D-6E8A-4147-A177-3AD203B41FA5}">
                      <a16:colId xmlns:a16="http://schemas.microsoft.com/office/drawing/2014/main" val="3262854234"/>
                    </a:ext>
                  </a:extLst>
                </a:gridCol>
                <a:gridCol w="5160662">
                  <a:extLst>
                    <a:ext uri="{9D8B030D-6E8A-4147-A177-3AD203B41FA5}">
                      <a16:colId xmlns:a16="http://schemas.microsoft.com/office/drawing/2014/main" val="506380080"/>
                    </a:ext>
                  </a:extLst>
                </a:gridCol>
                <a:gridCol w="437636">
                  <a:extLst>
                    <a:ext uri="{9D8B030D-6E8A-4147-A177-3AD203B41FA5}">
                      <a16:colId xmlns:a16="http://schemas.microsoft.com/office/drawing/2014/main" val="4172743049"/>
                    </a:ext>
                  </a:extLst>
                </a:gridCol>
              </a:tblGrid>
              <a:tr h="979885">
                <a:tc>
                  <a:txBody>
                    <a:bodyPr/>
                    <a:lstStyle/>
                    <a:p>
                      <a:pPr algn="l" rtl="0"/>
                      <a:r>
                        <a:rPr lang="en-US" sz="6000" b="1">
                          <a:solidFill>
                            <a:schemeClr val="tx1"/>
                          </a:solidFill>
                          <a:latin typeface="+mj-lt"/>
                          <a:cs typeface="Times New Roman" panose="02020603050405020304" pitchFamily="18" charset="0"/>
                        </a:rPr>
                        <a:t>1</a:t>
                      </a:r>
                    </a:p>
                  </a:txBody>
                  <a:tcPr marL="0" marR="0" marT="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rtl="0">
                        <a:tabLst/>
                      </a:pPr>
                      <a:r>
                        <a:rPr lang="en-US" sz="2400" b="1" dirty="0" err="1">
                          <a:solidFill>
                            <a:schemeClr val="tx1"/>
                          </a:solidFill>
                          <a:latin typeface="+mj-lt"/>
                        </a:rPr>
                        <a:t>Energia</a:t>
                      </a:r>
                      <a:r>
                        <a:rPr lang="en-US" sz="2400" b="1" dirty="0">
                          <a:solidFill>
                            <a:schemeClr val="tx1"/>
                          </a:solidFill>
                          <a:latin typeface="+mj-lt"/>
                        </a:rPr>
                        <a:t> </a:t>
                      </a:r>
                      <a:r>
                        <a:rPr lang="en-US" sz="2400" b="1" dirty="0" err="1">
                          <a:solidFill>
                            <a:schemeClr val="tx1"/>
                          </a:solidFill>
                          <a:latin typeface="+mj-lt"/>
                        </a:rPr>
                        <a:t>renovable</a:t>
                      </a:r>
                      <a:endParaRPr lang="en-US" sz="2400" b="1"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r" rtl="0">
                        <a:tabLst>
                          <a:tab pos="2420938" algn="r"/>
                        </a:tabLst>
                      </a:pPr>
                      <a:endParaRPr lang="en-US" sz="2400" b="0"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9071853"/>
                  </a:ext>
                </a:extLst>
              </a:tr>
              <a:tr h="979885">
                <a:tc>
                  <a:txBody>
                    <a:bodyPr/>
                    <a:lstStyle/>
                    <a:p>
                      <a:pPr algn="l" rtl="0"/>
                      <a:r>
                        <a:rPr lang="en-US" sz="6000" b="1">
                          <a:solidFill>
                            <a:schemeClr val="tx1"/>
                          </a:solidFill>
                          <a:latin typeface="+mj-lt"/>
                          <a:cs typeface="Times New Roman" panose="02020603050405020304" pitchFamily="18" charset="0"/>
                        </a:rPr>
                        <a:t>2</a:t>
                      </a:r>
                    </a:p>
                  </a:txBody>
                  <a:tcPr marL="0" marR="0" marT="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tabLst/>
                      </a:pPr>
                      <a:r>
                        <a:rPr lang="en-US" sz="2400" b="1" dirty="0" err="1">
                          <a:solidFill>
                            <a:schemeClr val="tx1"/>
                          </a:solidFill>
                          <a:latin typeface="+mj-lt"/>
                        </a:rPr>
                        <a:t>Ciberseguridad</a:t>
                      </a:r>
                      <a:r>
                        <a:rPr lang="en-US" sz="2400" b="1" dirty="0">
                          <a:solidFill>
                            <a:schemeClr val="tx1"/>
                          </a:solidFill>
                          <a:latin typeface="+mj-lt"/>
                        </a:rPr>
                        <a:t> OT</a:t>
                      </a:r>
                      <a:endParaRPr lang="en-US" sz="2400" b="0"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r" rtl="0"/>
                      <a:endParaRPr lang="en-US" sz="2400" b="0"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2985983"/>
                  </a:ext>
                </a:extLst>
              </a:tr>
              <a:tr h="979885">
                <a:tc>
                  <a:txBody>
                    <a:bodyPr/>
                    <a:lstStyle/>
                    <a:p>
                      <a:pPr algn="l" rtl="0"/>
                      <a:r>
                        <a:rPr lang="en-US" sz="6000" b="1">
                          <a:solidFill>
                            <a:schemeClr val="tx1"/>
                          </a:solidFill>
                          <a:latin typeface="+mj-lt"/>
                          <a:cs typeface="Times New Roman" panose="02020603050405020304" pitchFamily="18" charset="0"/>
                        </a:rPr>
                        <a:t>3</a:t>
                      </a:r>
                    </a:p>
                  </a:txBody>
                  <a:tcPr marL="0" marR="0" marT="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tabLst/>
                      </a:pPr>
                      <a:r>
                        <a:rPr lang="en-US" sz="2400" b="1" dirty="0">
                          <a:solidFill>
                            <a:schemeClr val="tx1"/>
                          </a:solidFill>
                          <a:latin typeface="+mj-lt"/>
                        </a:rPr>
                        <a:t>Networking 1 --&gt; IEEE</a:t>
                      </a:r>
                      <a:endParaRPr lang="en-US" sz="2400" b="0"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r" rtl="0"/>
                      <a:endParaRPr lang="en-US" sz="2400" b="0"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7780732"/>
                  </a:ext>
                </a:extLst>
              </a:tr>
              <a:tr h="979885">
                <a:tc>
                  <a:txBody>
                    <a:bodyPr/>
                    <a:lstStyle/>
                    <a:p>
                      <a:pPr algn="l" rtl="0"/>
                      <a:r>
                        <a:rPr lang="en-US" sz="6000" b="1">
                          <a:solidFill>
                            <a:schemeClr val="tx1"/>
                          </a:solidFill>
                          <a:latin typeface="+mj-lt"/>
                          <a:cs typeface="Times New Roman" panose="02020603050405020304" pitchFamily="18" charset="0"/>
                        </a:rPr>
                        <a:t>4</a:t>
                      </a:r>
                    </a:p>
                  </a:txBody>
                  <a:tcPr marL="0" marR="0" marT="0" marB="14400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tabLst/>
                      </a:pPr>
                      <a:r>
                        <a:rPr lang="en-US" sz="2400" b="1" kern="1200" dirty="0">
                          <a:solidFill>
                            <a:schemeClr val="tx1"/>
                          </a:solidFill>
                          <a:latin typeface="+mn-lt"/>
                          <a:ea typeface="+mn-ea"/>
                          <a:cs typeface="+mn-cs"/>
                        </a:rPr>
                        <a:t>Networking 2 --&gt; </a:t>
                      </a:r>
                      <a:r>
                        <a:rPr lang="en-US" sz="2400" b="1" kern="1200" dirty="0" err="1">
                          <a:solidFill>
                            <a:schemeClr val="tx1"/>
                          </a:solidFill>
                          <a:latin typeface="+mn-lt"/>
                          <a:ea typeface="+mn-ea"/>
                          <a:cs typeface="+mn-cs"/>
                        </a:rPr>
                        <a:t>Asociación</a:t>
                      </a:r>
                      <a:r>
                        <a:rPr lang="en-US" sz="2400" b="1" kern="1200" dirty="0">
                          <a:solidFill>
                            <a:schemeClr val="tx1"/>
                          </a:solidFill>
                          <a:latin typeface="+mn-lt"/>
                          <a:ea typeface="+mn-ea"/>
                          <a:cs typeface="+mn-cs"/>
                        </a:rPr>
                        <a:t> </a:t>
                      </a:r>
                      <a:r>
                        <a:rPr lang="en-US" sz="2400" b="1" kern="1200" dirty="0" err="1">
                          <a:solidFill>
                            <a:schemeClr val="tx1"/>
                          </a:solidFill>
                          <a:latin typeface="+mn-lt"/>
                          <a:ea typeface="+mn-ea"/>
                          <a:cs typeface="+mn-cs"/>
                        </a:rPr>
                        <a:t>Teleco</a:t>
                      </a:r>
                      <a:endParaRPr lang="en-US" sz="2400" b="0" kern="1200" dirty="0">
                        <a:solidFill>
                          <a:schemeClr val="tx1"/>
                        </a:solidFill>
                        <a:latin typeface="+mn-lt"/>
                        <a:ea typeface="+mn-ea"/>
                        <a:cs typeface="+mn-cs"/>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algn="r" rtl="0"/>
                      <a:endParaRPr lang="en-US" sz="2400" b="0" dirty="0">
                        <a:solidFill>
                          <a:schemeClr val="tx1"/>
                        </a:solidFill>
                        <a:latin typeface="+mj-lt"/>
                      </a:endParaRPr>
                    </a:p>
                  </a:txBody>
                  <a:tcPr marL="0" marR="0" marT="144000" marB="14400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95732878"/>
                  </a:ext>
                </a:extLst>
              </a:tr>
            </a:tbl>
          </a:graphicData>
        </a:graphic>
      </p:graphicFrame>
      <p:sp>
        <p:nvSpPr>
          <p:cNvPr id="5" name="Fußzeilenplatzhalter 4">
            <a:extLst>
              <a:ext uri="{FF2B5EF4-FFF2-40B4-BE49-F238E27FC236}">
                <a16:creationId xmlns:a16="http://schemas.microsoft.com/office/drawing/2014/main" id="{3F97C3DB-E29A-453F-A0EA-B61B8CF0EF97}"/>
              </a:ext>
            </a:extLst>
          </p:cNvPr>
          <p:cNvSpPr>
            <a:spLocks noGrp="1"/>
          </p:cNvSpPr>
          <p:nvPr>
            <p:ph type="ftr" sz="quarter" idx="12"/>
          </p:nvPr>
        </p:nvSpPr>
        <p:spPr/>
        <p:txBody>
          <a:bodyPr/>
          <a:lstStyle/>
          <a:p>
            <a:r>
              <a:rPr lang="de-DE" dirty="0"/>
              <a:t>Unrestricted © Siemens Gamesa Renewable Energy, 2024 | Manuel Ballesteros</a:t>
            </a:r>
            <a:endParaRPr lang="en-GB" dirty="0"/>
          </a:p>
        </p:txBody>
      </p:sp>
    </p:spTree>
    <p:extLst>
      <p:ext uri="{BB962C8B-B14F-4D97-AF65-F5344CB8AC3E}">
        <p14:creationId xmlns:p14="http://schemas.microsoft.com/office/powerpoint/2010/main" val="229038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7"/>
          <p:cNvPicPr/>
          <p:nvPr/>
        </p:nvPicPr>
        <p:blipFill>
          <a:blip r:embed="rId2" cstate="print"/>
          <a:stretch>
            <a:fillRect/>
          </a:stretch>
        </p:blipFill>
        <p:spPr>
          <a:xfrm>
            <a:off x="1295400" y="1371600"/>
            <a:ext cx="9753600" cy="5226812"/>
          </a:xfrm>
          <a:prstGeom prst="rect">
            <a:avLst/>
          </a:prstGeom>
        </p:spPr>
      </p:pic>
      <p:grpSp>
        <p:nvGrpSpPr>
          <p:cNvPr id="4" name="object 3"/>
          <p:cNvGrpSpPr/>
          <p:nvPr/>
        </p:nvGrpSpPr>
        <p:grpSpPr>
          <a:xfrm>
            <a:off x="1752600" y="125224"/>
            <a:ext cx="1082040" cy="1080135"/>
            <a:chOff x="414781" y="431545"/>
            <a:chExt cx="1082040" cy="1080135"/>
          </a:xfrm>
        </p:grpSpPr>
        <p:sp>
          <p:nvSpPr>
            <p:cNvPr id="5" name="object 4"/>
            <p:cNvSpPr/>
            <p:nvPr/>
          </p:nvSpPr>
          <p:spPr>
            <a:xfrm>
              <a:off x="427481" y="444245"/>
              <a:ext cx="1056640" cy="1054735"/>
            </a:xfrm>
            <a:custGeom>
              <a:avLst/>
              <a:gdLst/>
              <a:ahLst/>
              <a:cxnLst/>
              <a:rect l="l" t="t" r="r" b="b"/>
              <a:pathLst>
                <a:path w="1056640" h="1054735">
                  <a:moveTo>
                    <a:pt x="528066" y="0"/>
                  </a:moveTo>
                  <a:lnTo>
                    <a:pt x="480001" y="2155"/>
                  </a:lnTo>
                  <a:lnTo>
                    <a:pt x="433145" y="8495"/>
                  </a:lnTo>
                  <a:lnTo>
                    <a:pt x="387685" y="18836"/>
                  </a:lnTo>
                  <a:lnTo>
                    <a:pt x="343806" y="32990"/>
                  </a:lnTo>
                  <a:lnTo>
                    <a:pt x="301696" y="50772"/>
                  </a:lnTo>
                  <a:lnTo>
                    <a:pt x="261540" y="71994"/>
                  </a:lnTo>
                  <a:lnTo>
                    <a:pt x="223526" y="96472"/>
                  </a:lnTo>
                  <a:lnTo>
                    <a:pt x="187839" y="124018"/>
                  </a:lnTo>
                  <a:lnTo>
                    <a:pt x="154666" y="154447"/>
                  </a:lnTo>
                  <a:lnTo>
                    <a:pt x="124194" y="187573"/>
                  </a:lnTo>
                  <a:lnTo>
                    <a:pt x="96608" y="223208"/>
                  </a:lnTo>
                  <a:lnTo>
                    <a:pt x="72096" y="261168"/>
                  </a:lnTo>
                  <a:lnTo>
                    <a:pt x="50843" y="301265"/>
                  </a:lnTo>
                  <a:lnTo>
                    <a:pt x="33037" y="343314"/>
                  </a:lnTo>
                  <a:lnTo>
                    <a:pt x="18863" y="387129"/>
                  </a:lnTo>
                  <a:lnTo>
                    <a:pt x="8507" y="432523"/>
                  </a:lnTo>
                  <a:lnTo>
                    <a:pt x="2158" y="479310"/>
                  </a:lnTo>
                  <a:lnTo>
                    <a:pt x="0" y="527303"/>
                  </a:lnTo>
                  <a:lnTo>
                    <a:pt x="2158" y="575297"/>
                  </a:lnTo>
                  <a:lnTo>
                    <a:pt x="8507" y="622084"/>
                  </a:lnTo>
                  <a:lnTo>
                    <a:pt x="18863" y="667478"/>
                  </a:lnTo>
                  <a:lnTo>
                    <a:pt x="33037" y="711293"/>
                  </a:lnTo>
                  <a:lnTo>
                    <a:pt x="50843" y="753342"/>
                  </a:lnTo>
                  <a:lnTo>
                    <a:pt x="72096" y="793439"/>
                  </a:lnTo>
                  <a:lnTo>
                    <a:pt x="96608" y="831399"/>
                  </a:lnTo>
                  <a:lnTo>
                    <a:pt x="124194" y="867034"/>
                  </a:lnTo>
                  <a:lnTo>
                    <a:pt x="154666" y="900160"/>
                  </a:lnTo>
                  <a:lnTo>
                    <a:pt x="187839" y="930589"/>
                  </a:lnTo>
                  <a:lnTo>
                    <a:pt x="223526" y="958135"/>
                  </a:lnTo>
                  <a:lnTo>
                    <a:pt x="261540" y="982613"/>
                  </a:lnTo>
                  <a:lnTo>
                    <a:pt x="301696" y="1003835"/>
                  </a:lnTo>
                  <a:lnTo>
                    <a:pt x="343806" y="1021617"/>
                  </a:lnTo>
                  <a:lnTo>
                    <a:pt x="387685" y="1035771"/>
                  </a:lnTo>
                  <a:lnTo>
                    <a:pt x="433145" y="1046112"/>
                  </a:lnTo>
                  <a:lnTo>
                    <a:pt x="480001" y="1052452"/>
                  </a:lnTo>
                  <a:lnTo>
                    <a:pt x="528066" y="1054607"/>
                  </a:lnTo>
                  <a:lnTo>
                    <a:pt x="576130" y="1052452"/>
                  </a:lnTo>
                  <a:lnTo>
                    <a:pt x="622986" y="1046112"/>
                  </a:lnTo>
                  <a:lnTo>
                    <a:pt x="668446" y="1035771"/>
                  </a:lnTo>
                  <a:lnTo>
                    <a:pt x="712325" y="1021617"/>
                  </a:lnTo>
                  <a:lnTo>
                    <a:pt x="754435" y="1003835"/>
                  </a:lnTo>
                  <a:lnTo>
                    <a:pt x="794591" y="982613"/>
                  </a:lnTo>
                  <a:lnTo>
                    <a:pt x="832605" y="958135"/>
                  </a:lnTo>
                  <a:lnTo>
                    <a:pt x="868292" y="930589"/>
                  </a:lnTo>
                  <a:lnTo>
                    <a:pt x="901465" y="900160"/>
                  </a:lnTo>
                  <a:lnTo>
                    <a:pt x="931937" y="867034"/>
                  </a:lnTo>
                  <a:lnTo>
                    <a:pt x="959523" y="831399"/>
                  </a:lnTo>
                  <a:lnTo>
                    <a:pt x="984035" y="793439"/>
                  </a:lnTo>
                  <a:lnTo>
                    <a:pt x="1005288" y="753342"/>
                  </a:lnTo>
                  <a:lnTo>
                    <a:pt x="1023094" y="711293"/>
                  </a:lnTo>
                  <a:lnTo>
                    <a:pt x="1037268" y="667478"/>
                  </a:lnTo>
                  <a:lnTo>
                    <a:pt x="1047624" y="622084"/>
                  </a:lnTo>
                  <a:lnTo>
                    <a:pt x="1053973" y="575297"/>
                  </a:lnTo>
                  <a:lnTo>
                    <a:pt x="1056132" y="527303"/>
                  </a:lnTo>
                  <a:lnTo>
                    <a:pt x="1053973" y="479310"/>
                  </a:lnTo>
                  <a:lnTo>
                    <a:pt x="1047624" y="432523"/>
                  </a:lnTo>
                  <a:lnTo>
                    <a:pt x="1037268" y="387129"/>
                  </a:lnTo>
                  <a:lnTo>
                    <a:pt x="1023094" y="343314"/>
                  </a:lnTo>
                  <a:lnTo>
                    <a:pt x="1005288" y="301265"/>
                  </a:lnTo>
                  <a:lnTo>
                    <a:pt x="984035" y="261168"/>
                  </a:lnTo>
                  <a:lnTo>
                    <a:pt x="959523" y="223208"/>
                  </a:lnTo>
                  <a:lnTo>
                    <a:pt x="931937" y="187573"/>
                  </a:lnTo>
                  <a:lnTo>
                    <a:pt x="901465" y="154447"/>
                  </a:lnTo>
                  <a:lnTo>
                    <a:pt x="868292" y="124018"/>
                  </a:lnTo>
                  <a:lnTo>
                    <a:pt x="832605" y="96472"/>
                  </a:lnTo>
                  <a:lnTo>
                    <a:pt x="794591" y="71994"/>
                  </a:lnTo>
                  <a:lnTo>
                    <a:pt x="754435" y="50772"/>
                  </a:lnTo>
                  <a:lnTo>
                    <a:pt x="712325" y="32990"/>
                  </a:lnTo>
                  <a:lnTo>
                    <a:pt x="668446" y="18836"/>
                  </a:lnTo>
                  <a:lnTo>
                    <a:pt x="622986" y="8495"/>
                  </a:lnTo>
                  <a:lnTo>
                    <a:pt x="576130" y="2155"/>
                  </a:lnTo>
                  <a:lnTo>
                    <a:pt x="528066" y="0"/>
                  </a:lnTo>
                  <a:close/>
                </a:path>
              </a:pathLst>
            </a:custGeom>
            <a:solidFill>
              <a:srgbClr val="FFFFFF"/>
            </a:solidFill>
          </p:spPr>
          <p:txBody>
            <a:bodyPr wrap="square" lIns="0" tIns="0" rIns="0" bIns="0" rtlCol="0"/>
            <a:lstStyle/>
            <a:p>
              <a:endParaRPr/>
            </a:p>
          </p:txBody>
        </p:sp>
        <p:sp>
          <p:nvSpPr>
            <p:cNvPr id="6" name="object 5"/>
            <p:cNvSpPr/>
            <p:nvPr/>
          </p:nvSpPr>
          <p:spPr>
            <a:xfrm>
              <a:off x="427481" y="444245"/>
              <a:ext cx="1056640" cy="1054735"/>
            </a:xfrm>
            <a:custGeom>
              <a:avLst/>
              <a:gdLst/>
              <a:ahLst/>
              <a:cxnLst/>
              <a:rect l="l" t="t" r="r" b="b"/>
              <a:pathLst>
                <a:path w="1056640" h="1054735">
                  <a:moveTo>
                    <a:pt x="0" y="527303"/>
                  </a:moveTo>
                  <a:lnTo>
                    <a:pt x="2158" y="479310"/>
                  </a:lnTo>
                  <a:lnTo>
                    <a:pt x="8507" y="432523"/>
                  </a:lnTo>
                  <a:lnTo>
                    <a:pt x="18863" y="387129"/>
                  </a:lnTo>
                  <a:lnTo>
                    <a:pt x="33037" y="343314"/>
                  </a:lnTo>
                  <a:lnTo>
                    <a:pt x="50843" y="301265"/>
                  </a:lnTo>
                  <a:lnTo>
                    <a:pt x="72096" y="261168"/>
                  </a:lnTo>
                  <a:lnTo>
                    <a:pt x="96608" y="223208"/>
                  </a:lnTo>
                  <a:lnTo>
                    <a:pt x="124194" y="187573"/>
                  </a:lnTo>
                  <a:lnTo>
                    <a:pt x="154666" y="154447"/>
                  </a:lnTo>
                  <a:lnTo>
                    <a:pt x="187839" y="124018"/>
                  </a:lnTo>
                  <a:lnTo>
                    <a:pt x="223526" y="96472"/>
                  </a:lnTo>
                  <a:lnTo>
                    <a:pt x="261540" y="71994"/>
                  </a:lnTo>
                  <a:lnTo>
                    <a:pt x="301696" y="50772"/>
                  </a:lnTo>
                  <a:lnTo>
                    <a:pt x="343806" y="32990"/>
                  </a:lnTo>
                  <a:lnTo>
                    <a:pt x="387685" y="18836"/>
                  </a:lnTo>
                  <a:lnTo>
                    <a:pt x="433145" y="8495"/>
                  </a:lnTo>
                  <a:lnTo>
                    <a:pt x="480001" y="2155"/>
                  </a:lnTo>
                  <a:lnTo>
                    <a:pt x="528066" y="0"/>
                  </a:lnTo>
                  <a:lnTo>
                    <a:pt x="576130" y="2155"/>
                  </a:lnTo>
                  <a:lnTo>
                    <a:pt x="622986" y="8495"/>
                  </a:lnTo>
                  <a:lnTo>
                    <a:pt x="668446" y="18836"/>
                  </a:lnTo>
                  <a:lnTo>
                    <a:pt x="712325" y="32990"/>
                  </a:lnTo>
                  <a:lnTo>
                    <a:pt x="754435" y="50772"/>
                  </a:lnTo>
                  <a:lnTo>
                    <a:pt x="794591" y="71994"/>
                  </a:lnTo>
                  <a:lnTo>
                    <a:pt x="832605" y="96472"/>
                  </a:lnTo>
                  <a:lnTo>
                    <a:pt x="868292" y="124018"/>
                  </a:lnTo>
                  <a:lnTo>
                    <a:pt x="901465" y="154447"/>
                  </a:lnTo>
                  <a:lnTo>
                    <a:pt x="931937" y="187573"/>
                  </a:lnTo>
                  <a:lnTo>
                    <a:pt x="959523" y="223208"/>
                  </a:lnTo>
                  <a:lnTo>
                    <a:pt x="984035" y="261168"/>
                  </a:lnTo>
                  <a:lnTo>
                    <a:pt x="1005288" y="301265"/>
                  </a:lnTo>
                  <a:lnTo>
                    <a:pt x="1023094" y="343314"/>
                  </a:lnTo>
                  <a:lnTo>
                    <a:pt x="1037268" y="387129"/>
                  </a:lnTo>
                  <a:lnTo>
                    <a:pt x="1047624" y="432523"/>
                  </a:lnTo>
                  <a:lnTo>
                    <a:pt x="1053973" y="479310"/>
                  </a:lnTo>
                  <a:lnTo>
                    <a:pt x="1056132" y="527303"/>
                  </a:lnTo>
                  <a:lnTo>
                    <a:pt x="1053973" y="575297"/>
                  </a:lnTo>
                  <a:lnTo>
                    <a:pt x="1047624" y="622084"/>
                  </a:lnTo>
                  <a:lnTo>
                    <a:pt x="1037268" y="667478"/>
                  </a:lnTo>
                  <a:lnTo>
                    <a:pt x="1023094" y="711293"/>
                  </a:lnTo>
                  <a:lnTo>
                    <a:pt x="1005288" y="753342"/>
                  </a:lnTo>
                  <a:lnTo>
                    <a:pt x="984035" y="793439"/>
                  </a:lnTo>
                  <a:lnTo>
                    <a:pt x="959523" y="831399"/>
                  </a:lnTo>
                  <a:lnTo>
                    <a:pt x="931937" y="867034"/>
                  </a:lnTo>
                  <a:lnTo>
                    <a:pt x="901465" y="900160"/>
                  </a:lnTo>
                  <a:lnTo>
                    <a:pt x="868292" y="930589"/>
                  </a:lnTo>
                  <a:lnTo>
                    <a:pt x="832605" y="958135"/>
                  </a:lnTo>
                  <a:lnTo>
                    <a:pt x="794591" y="982613"/>
                  </a:lnTo>
                  <a:lnTo>
                    <a:pt x="754435" y="1003835"/>
                  </a:lnTo>
                  <a:lnTo>
                    <a:pt x="712325" y="1021617"/>
                  </a:lnTo>
                  <a:lnTo>
                    <a:pt x="668446" y="1035771"/>
                  </a:lnTo>
                  <a:lnTo>
                    <a:pt x="622986" y="1046112"/>
                  </a:lnTo>
                  <a:lnTo>
                    <a:pt x="576130" y="1052452"/>
                  </a:lnTo>
                  <a:lnTo>
                    <a:pt x="528066" y="1054607"/>
                  </a:lnTo>
                  <a:lnTo>
                    <a:pt x="480001" y="1052452"/>
                  </a:lnTo>
                  <a:lnTo>
                    <a:pt x="433145" y="1046112"/>
                  </a:lnTo>
                  <a:lnTo>
                    <a:pt x="387685" y="1035771"/>
                  </a:lnTo>
                  <a:lnTo>
                    <a:pt x="343806" y="1021617"/>
                  </a:lnTo>
                  <a:lnTo>
                    <a:pt x="301696" y="1003835"/>
                  </a:lnTo>
                  <a:lnTo>
                    <a:pt x="261540" y="982613"/>
                  </a:lnTo>
                  <a:lnTo>
                    <a:pt x="223526" y="958135"/>
                  </a:lnTo>
                  <a:lnTo>
                    <a:pt x="187839" y="930589"/>
                  </a:lnTo>
                  <a:lnTo>
                    <a:pt x="154666" y="900160"/>
                  </a:lnTo>
                  <a:lnTo>
                    <a:pt x="124194" y="867034"/>
                  </a:lnTo>
                  <a:lnTo>
                    <a:pt x="96608" y="831399"/>
                  </a:lnTo>
                  <a:lnTo>
                    <a:pt x="72096" y="793439"/>
                  </a:lnTo>
                  <a:lnTo>
                    <a:pt x="50843" y="753342"/>
                  </a:lnTo>
                  <a:lnTo>
                    <a:pt x="33037" y="711293"/>
                  </a:lnTo>
                  <a:lnTo>
                    <a:pt x="18863" y="667478"/>
                  </a:lnTo>
                  <a:lnTo>
                    <a:pt x="8507" y="622084"/>
                  </a:lnTo>
                  <a:lnTo>
                    <a:pt x="2158" y="575297"/>
                  </a:lnTo>
                  <a:lnTo>
                    <a:pt x="0" y="527303"/>
                  </a:lnTo>
                  <a:close/>
                </a:path>
              </a:pathLst>
            </a:custGeom>
            <a:ln w="25399">
              <a:solidFill>
                <a:srgbClr val="FFFFFF"/>
              </a:solidFill>
            </a:ln>
          </p:spPr>
          <p:txBody>
            <a:bodyPr wrap="square" lIns="0" tIns="0" rIns="0" bIns="0" rtlCol="0"/>
            <a:lstStyle/>
            <a:p>
              <a:endParaRPr/>
            </a:p>
          </p:txBody>
        </p:sp>
        <p:pic>
          <p:nvPicPr>
            <p:cNvPr id="7" name="object 6"/>
            <p:cNvPicPr/>
            <p:nvPr/>
          </p:nvPicPr>
          <p:blipFill>
            <a:blip r:embed="rId3" cstate="print"/>
            <a:stretch>
              <a:fillRect/>
            </a:stretch>
          </p:blipFill>
          <p:spPr>
            <a:xfrm>
              <a:off x="496823" y="507491"/>
              <a:ext cx="958595" cy="958596"/>
            </a:xfrm>
            <a:prstGeom prst="rect">
              <a:avLst/>
            </a:prstGeom>
          </p:spPr>
        </p:pic>
      </p:grpSp>
      <p:sp>
        <p:nvSpPr>
          <p:cNvPr id="8" name="object 11"/>
          <p:cNvSpPr txBox="1"/>
          <p:nvPr/>
        </p:nvSpPr>
        <p:spPr>
          <a:xfrm>
            <a:off x="7391401" y="680467"/>
            <a:ext cx="3657599" cy="382156"/>
          </a:xfrm>
          <a:prstGeom prst="rect">
            <a:avLst/>
          </a:prstGeom>
        </p:spPr>
        <p:txBody>
          <a:bodyPr vert="horz" wrap="square" lIns="0" tIns="12700" rIns="0" bIns="0" rtlCol="0">
            <a:spAutoFit/>
          </a:bodyPr>
          <a:lstStyle/>
          <a:p>
            <a:pPr marL="12700">
              <a:spcBef>
                <a:spcPts val="100"/>
              </a:spcBef>
            </a:pPr>
            <a:r>
              <a:rPr lang="es-ES" sz="2400" dirty="0">
                <a:solidFill>
                  <a:srgbClr val="FFFFFF"/>
                </a:solidFill>
                <a:latin typeface="Calibri"/>
                <a:cs typeface="Calibri"/>
              </a:rPr>
              <a:t>Presentación ETSIST UPM</a:t>
            </a:r>
            <a:endParaRPr sz="2400" dirty="0">
              <a:latin typeface="Calibri"/>
              <a:cs typeface="Calibri"/>
            </a:endParaRPr>
          </a:p>
        </p:txBody>
      </p:sp>
    </p:spTree>
    <p:extLst>
      <p:ext uri="{BB962C8B-B14F-4D97-AF65-F5344CB8AC3E}">
        <p14:creationId xmlns:p14="http://schemas.microsoft.com/office/powerpoint/2010/main" val="7364983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object 5"/>
          <p:cNvPicPr/>
          <p:nvPr/>
        </p:nvPicPr>
        <p:blipFill>
          <a:blip r:embed="rId2" cstate="print"/>
          <a:stretch>
            <a:fillRect/>
          </a:stretch>
        </p:blipFill>
        <p:spPr>
          <a:xfrm>
            <a:off x="7540752" y="2362200"/>
            <a:ext cx="3432048" cy="2590800"/>
          </a:xfrm>
          <a:prstGeom prst="rect">
            <a:avLst/>
          </a:prstGeom>
        </p:spPr>
      </p:pic>
      <p:pic>
        <p:nvPicPr>
          <p:cNvPr id="13" name="Picture 12" descr="A logo with a cartoon character&#10;&#10;Description automatically generated">
            <a:extLst>
              <a:ext uri="{FF2B5EF4-FFF2-40B4-BE49-F238E27FC236}">
                <a16:creationId xmlns:a16="http://schemas.microsoft.com/office/drawing/2014/main" id="{2A248E52-89A8-C06E-925F-7ACBF7B83A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1" y="971273"/>
            <a:ext cx="5037238" cy="5037238"/>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12F034DA-9B51-575C-01C3-4F8DDC5DC3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8958" y="939651"/>
            <a:ext cx="10746746" cy="5890967"/>
          </a:xfrm>
          <a:prstGeom prst="rect">
            <a:avLst/>
          </a:prstGeom>
        </p:spPr>
      </p:pic>
      <p:grpSp>
        <p:nvGrpSpPr>
          <p:cNvPr id="3" name="object 3"/>
          <p:cNvGrpSpPr/>
          <p:nvPr/>
        </p:nvGrpSpPr>
        <p:grpSpPr>
          <a:xfrm>
            <a:off x="1583657" y="85930"/>
            <a:ext cx="1366520" cy="1339215"/>
            <a:chOff x="311150" y="373634"/>
            <a:chExt cx="1366520" cy="1339215"/>
          </a:xfrm>
        </p:grpSpPr>
        <p:sp>
          <p:nvSpPr>
            <p:cNvPr id="4" name="object 4"/>
            <p:cNvSpPr/>
            <p:nvPr/>
          </p:nvSpPr>
          <p:spPr>
            <a:xfrm>
              <a:off x="323850" y="386334"/>
              <a:ext cx="1341120" cy="1313815"/>
            </a:xfrm>
            <a:custGeom>
              <a:avLst/>
              <a:gdLst/>
              <a:ahLst/>
              <a:cxnLst/>
              <a:rect l="l" t="t" r="r" b="b"/>
              <a:pathLst>
                <a:path w="1341120" h="1313814">
                  <a:moveTo>
                    <a:pt x="670560" y="0"/>
                  </a:moveTo>
                  <a:lnTo>
                    <a:pt x="622670" y="1649"/>
                  </a:lnTo>
                  <a:lnTo>
                    <a:pt x="575690" y="6523"/>
                  </a:lnTo>
                  <a:lnTo>
                    <a:pt x="529732" y="14511"/>
                  </a:lnTo>
                  <a:lnTo>
                    <a:pt x="484910" y="25502"/>
                  </a:lnTo>
                  <a:lnTo>
                    <a:pt x="441337" y="39383"/>
                  </a:lnTo>
                  <a:lnTo>
                    <a:pt x="399127" y="56045"/>
                  </a:lnTo>
                  <a:lnTo>
                    <a:pt x="358393" y="75375"/>
                  </a:lnTo>
                  <a:lnTo>
                    <a:pt x="319249" y="97263"/>
                  </a:lnTo>
                  <a:lnTo>
                    <a:pt x="281807" y="121597"/>
                  </a:lnTo>
                  <a:lnTo>
                    <a:pt x="246183" y="148266"/>
                  </a:lnTo>
                  <a:lnTo>
                    <a:pt x="212488" y="177159"/>
                  </a:lnTo>
                  <a:lnTo>
                    <a:pt x="180837" y="208164"/>
                  </a:lnTo>
                  <a:lnTo>
                    <a:pt x="151343" y="241171"/>
                  </a:lnTo>
                  <a:lnTo>
                    <a:pt x="124120" y="276068"/>
                  </a:lnTo>
                  <a:lnTo>
                    <a:pt x="99280" y="312744"/>
                  </a:lnTo>
                  <a:lnTo>
                    <a:pt x="76938" y="351087"/>
                  </a:lnTo>
                  <a:lnTo>
                    <a:pt x="57206" y="390987"/>
                  </a:lnTo>
                  <a:lnTo>
                    <a:pt x="40199" y="432333"/>
                  </a:lnTo>
                  <a:lnTo>
                    <a:pt x="26030" y="475012"/>
                  </a:lnTo>
                  <a:lnTo>
                    <a:pt x="14812" y="518914"/>
                  </a:lnTo>
                  <a:lnTo>
                    <a:pt x="6658" y="563927"/>
                  </a:lnTo>
                  <a:lnTo>
                    <a:pt x="1683" y="609941"/>
                  </a:lnTo>
                  <a:lnTo>
                    <a:pt x="0" y="656843"/>
                  </a:lnTo>
                  <a:lnTo>
                    <a:pt x="1683" y="703746"/>
                  </a:lnTo>
                  <a:lnTo>
                    <a:pt x="6658" y="749760"/>
                  </a:lnTo>
                  <a:lnTo>
                    <a:pt x="14812" y="794773"/>
                  </a:lnTo>
                  <a:lnTo>
                    <a:pt x="26030" y="838675"/>
                  </a:lnTo>
                  <a:lnTo>
                    <a:pt x="40199" y="881354"/>
                  </a:lnTo>
                  <a:lnTo>
                    <a:pt x="57206" y="922700"/>
                  </a:lnTo>
                  <a:lnTo>
                    <a:pt x="76938" y="962600"/>
                  </a:lnTo>
                  <a:lnTo>
                    <a:pt x="99280" y="1000943"/>
                  </a:lnTo>
                  <a:lnTo>
                    <a:pt x="124120" y="1037619"/>
                  </a:lnTo>
                  <a:lnTo>
                    <a:pt x="151343" y="1072516"/>
                  </a:lnTo>
                  <a:lnTo>
                    <a:pt x="180837" y="1105523"/>
                  </a:lnTo>
                  <a:lnTo>
                    <a:pt x="212488" y="1136528"/>
                  </a:lnTo>
                  <a:lnTo>
                    <a:pt x="246183" y="1165421"/>
                  </a:lnTo>
                  <a:lnTo>
                    <a:pt x="281807" y="1192090"/>
                  </a:lnTo>
                  <a:lnTo>
                    <a:pt x="319249" y="1216424"/>
                  </a:lnTo>
                  <a:lnTo>
                    <a:pt x="358393" y="1238312"/>
                  </a:lnTo>
                  <a:lnTo>
                    <a:pt x="399127" y="1257642"/>
                  </a:lnTo>
                  <a:lnTo>
                    <a:pt x="441337" y="1274304"/>
                  </a:lnTo>
                  <a:lnTo>
                    <a:pt x="484910" y="1288185"/>
                  </a:lnTo>
                  <a:lnTo>
                    <a:pt x="529732" y="1299176"/>
                  </a:lnTo>
                  <a:lnTo>
                    <a:pt x="575690" y="1307164"/>
                  </a:lnTo>
                  <a:lnTo>
                    <a:pt x="622670" y="1312038"/>
                  </a:lnTo>
                  <a:lnTo>
                    <a:pt x="670560" y="1313688"/>
                  </a:lnTo>
                  <a:lnTo>
                    <a:pt x="718447" y="1312038"/>
                  </a:lnTo>
                  <a:lnTo>
                    <a:pt x="765426" y="1307164"/>
                  </a:lnTo>
                  <a:lnTo>
                    <a:pt x="811383" y="1299176"/>
                  </a:lnTo>
                  <a:lnTo>
                    <a:pt x="856205" y="1288185"/>
                  </a:lnTo>
                  <a:lnTo>
                    <a:pt x="899777" y="1274304"/>
                  </a:lnTo>
                  <a:lnTo>
                    <a:pt x="941987" y="1257642"/>
                  </a:lnTo>
                  <a:lnTo>
                    <a:pt x="982721" y="1238312"/>
                  </a:lnTo>
                  <a:lnTo>
                    <a:pt x="1021865" y="1216424"/>
                  </a:lnTo>
                  <a:lnTo>
                    <a:pt x="1059306" y="1192090"/>
                  </a:lnTo>
                  <a:lnTo>
                    <a:pt x="1094931" y="1165421"/>
                  </a:lnTo>
                  <a:lnTo>
                    <a:pt x="1128626" y="1136528"/>
                  </a:lnTo>
                  <a:lnTo>
                    <a:pt x="1160277" y="1105523"/>
                  </a:lnTo>
                  <a:lnTo>
                    <a:pt x="1189772" y="1072516"/>
                  </a:lnTo>
                  <a:lnTo>
                    <a:pt x="1216996" y="1037619"/>
                  </a:lnTo>
                  <a:lnTo>
                    <a:pt x="1241836" y="1000943"/>
                  </a:lnTo>
                  <a:lnTo>
                    <a:pt x="1264179" y="962600"/>
                  </a:lnTo>
                  <a:lnTo>
                    <a:pt x="1283911" y="922700"/>
                  </a:lnTo>
                  <a:lnTo>
                    <a:pt x="1300918" y="881354"/>
                  </a:lnTo>
                  <a:lnTo>
                    <a:pt x="1315088" y="838675"/>
                  </a:lnTo>
                  <a:lnTo>
                    <a:pt x="1326307" y="794773"/>
                  </a:lnTo>
                  <a:lnTo>
                    <a:pt x="1334460" y="749760"/>
                  </a:lnTo>
                  <a:lnTo>
                    <a:pt x="1339436" y="703746"/>
                  </a:lnTo>
                  <a:lnTo>
                    <a:pt x="1341120" y="656843"/>
                  </a:lnTo>
                  <a:lnTo>
                    <a:pt x="1339436" y="609941"/>
                  </a:lnTo>
                  <a:lnTo>
                    <a:pt x="1334460" y="563927"/>
                  </a:lnTo>
                  <a:lnTo>
                    <a:pt x="1326307" y="518914"/>
                  </a:lnTo>
                  <a:lnTo>
                    <a:pt x="1315088" y="475012"/>
                  </a:lnTo>
                  <a:lnTo>
                    <a:pt x="1300918" y="432333"/>
                  </a:lnTo>
                  <a:lnTo>
                    <a:pt x="1283911" y="390987"/>
                  </a:lnTo>
                  <a:lnTo>
                    <a:pt x="1264179" y="351087"/>
                  </a:lnTo>
                  <a:lnTo>
                    <a:pt x="1241836" y="312744"/>
                  </a:lnTo>
                  <a:lnTo>
                    <a:pt x="1216996" y="276068"/>
                  </a:lnTo>
                  <a:lnTo>
                    <a:pt x="1189772" y="241171"/>
                  </a:lnTo>
                  <a:lnTo>
                    <a:pt x="1160277" y="208164"/>
                  </a:lnTo>
                  <a:lnTo>
                    <a:pt x="1128626" y="177159"/>
                  </a:lnTo>
                  <a:lnTo>
                    <a:pt x="1094931" y="148266"/>
                  </a:lnTo>
                  <a:lnTo>
                    <a:pt x="1059306" y="121597"/>
                  </a:lnTo>
                  <a:lnTo>
                    <a:pt x="1021865" y="97263"/>
                  </a:lnTo>
                  <a:lnTo>
                    <a:pt x="982721" y="75375"/>
                  </a:lnTo>
                  <a:lnTo>
                    <a:pt x="941987" y="56045"/>
                  </a:lnTo>
                  <a:lnTo>
                    <a:pt x="899777" y="39383"/>
                  </a:lnTo>
                  <a:lnTo>
                    <a:pt x="856205" y="25502"/>
                  </a:lnTo>
                  <a:lnTo>
                    <a:pt x="811383" y="14511"/>
                  </a:lnTo>
                  <a:lnTo>
                    <a:pt x="765426" y="6523"/>
                  </a:lnTo>
                  <a:lnTo>
                    <a:pt x="718447" y="1649"/>
                  </a:lnTo>
                  <a:lnTo>
                    <a:pt x="670560" y="0"/>
                  </a:lnTo>
                  <a:close/>
                </a:path>
              </a:pathLst>
            </a:custGeom>
            <a:solidFill>
              <a:srgbClr val="FFFFFF"/>
            </a:solidFill>
          </p:spPr>
          <p:txBody>
            <a:bodyPr wrap="square" lIns="0" tIns="0" rIns="0" bIns="0" rtlCol="0"/>
            <a:lstStyle/>
            <a:p>
              <a:endParaRPr/>
            </a:p>
          </p:txBody>
        </p:sp>
        <p:sp>
          <p:nvSpPr>
            <p:cNvPr id="5" name="object 5"/>
            <p:cNvSpPr/>
            <p:nvPr/>
          </p:nvSpPr>
          <p:spPr>
            <a:xfrm>
              <a:off x="323850" y="386334"/>
              <a:ext cx="1341120" cy="1313815"/>
            </a:xfrm>
            <a:custGeom>
              <a:avLst/>
              <a:gdLst/>
              <a:ahLst/>
              <a:cxnLst/>
              <a:rect l="l" t="t" r="r" b="b"/>
              <a:pathLst>
                <a:path w="1341120" h="1313814">
                  <a:moveTo>
                    <a:pt x="0" y="656843"/>
                  </a:moveTo>
                  <a:lnTo>
                    <a:pt x="1683" y="609941"/>
                  </a:lnTo>
                  <a:lnTo>
                    <a:pt x="6658" y="563927"/>
                  </a:lnTo>
                  <a:lnTo>
                    <a:pt x="14812" y="518914"/>
                  </a:lnTo>
                  <a:lnTo>
                    <a:pt x="26030" y="475012"/>
                  </a:lnTo>
                  <a:lnTo>
                    <a:pt x="40199" y="432333"/>
                  </a:lnTo>
                  <a:lnTo>
                    <a:pt x="57206" y="390987"/>
                  </a:lnTo>
                  <a:lnTo>
                    <a:pt x="76938" y="351087"/>
                  </a:lnTo>
                  <a:lnTo>
                    <a:pt x="99280" y="312744"/>
                  </a:lnTo>
                  <a:lnTo>
                    <a:pt x="124120" y="276068"/>
                  </a:lnTo>
                  <a:lnTo>
                    <a:pt x="151343" y="241171"/>
                  </a:lnTo>
                  <a:lnTo>
                    <a:pt x="180837" y="208164"/>
                  </a:lnTo>
                  <a:lnTo>
                    <a:pt x="212488" y="177159"/>
                  </a:lnTo>
                  <a:lnTo>
                    <a:pt x="246183" y="148266"/>
                  </a:lnTo>
                  <a:lnTo>
                    <a:pt x="281807" y="121597"/>
                  </a:lnTo>
                  <a:lnTo>
                    <a:pt x="319249" y="97263"/>
                  </a:lnTo>
                  <a:lnTo>
                    <a:pt x="358393" y="75375"/>
                  </a:lnTo>
                  <a:lnTo>
                    <a:pt x="399127" y="56045"/>
                  </a:lnTo>
                  <a:lnTo>
                    <a:pt x="441337" y="39383"/>
                  </a:lnTo>
                  <a:lnTo>
                    <a:pt x="484910" y="25502"/>
                  </a:lnTo>
                  <a:lnTo>
                    <a:pt x="529732" y="14511"/>
                  </a:lnTo>
                  <a:lnTo>
                    <a:pt x="575690" y="6523"/>
                  </a:lnTo>
                  <a:lnTo>
                    <a:pt x="622670" y="1649"/>
                  </a:lnTo>
                  <a:lnTo>
                    <a:pt x="670560" y="0"/>
                  </a:lnTo>
                  <a:lnTo>
                    <a:pt x="718447" y="1649"/>
                  </a:lnTo>
                  <a:lnTo>
                    <a:pt x="765426" y="6523"/>
                  </a:lnTo>
                  <a:lnTo>
                    <a:pt x="811383" y="14511"/>
                  </a:lnTo>
                  <a:lnTo>
                    <a:pt x="856205" y="25502"/>
                  </a:lnTo>
                  <a:lnTo>
                    <a:pt x="899777" y="39383"/>
                  </a:lnTo>
                  <a:lnTo>
                    <a:pt x="941987" y="56045"/>
                  </a:lnTo>
                  <a:lnTo>
                    <a:pt x="982721" y="75375"/>
                  </a:lnTo>
                  <a:lnTo>
                    <a:pt x="1021865" y="97263"/>
                  </a:lnTo>
                  <a:lnTo>
                    <a:pt x="1059306" y="121597"/>
                  </a:lnTo>
                  <a:lnTo>
                    <a:pt x="1094931" y="148266"/>
                  </a:lnTo>
                  <a:lnTo>
                    <a:pt x="1128626" y="177159"/>
                  </a:lnTo>
                  <a:lnTo>
                    <a:pt x="1160277" y="208164"/>
                  </a:lnTo>
                  <a:lnTo>
                    <a:pt x="1189772" y="241171"/>
                  </a:lnTo>
                  <a:lnTo>
                    <a:pt x="1216996" y="276068"/>
                  </a:lnTo>
                  <a:lnTo>
                    <a:pt x="1241836" y="312744"/>
                  </a:lnTo>
                  <a:lnTo>
                    <a:pt x="1264179" y="351087"/>
                  </a:lnTo>
                  <a:lnTo>
                    <a:pt x="1283911" y="390987"/>
                  </a:lnTo>
                  <a:lnTo>
                    <a:pt x="1300918" y="432333"/>
                  </a:lnTo>
                  <a:lnTo>
                    <a:pt x="1315088" y="475012"/>
                  </a:lnTo>
                  <a:lnTo>
                    <a:pt x="1326307" y="518914"/>
                  </a:lnTo>
                  <a:lnTo>
                    <a:pt x="1334460" y="563927"/>
                  </a:lnTo>
                  <a:lnTo>
                    <a:pt x="1339436" y="609941"/>
                  </a:lnTo>
                  <a:lnTo>
                    <a:pt x="1341120" y="656843"/>
                  </a:lnTo>
                  <a:lnTo>
                    <a:pt x="1339436" y="703746"/>
                  </a:lnTo>
                  <a:lnTo>
                    <a:pt x="1334460" y="749760"/>
                  </a:lnTo>
                  <a:lnTo>
                    <a:pt x="1326307" y="794773"/>
                  </a:lnTo>
                  <a:lnTo>
                    <a:pt x="1315088" y="838675"/>
                  </a:lnTo>
                  <a:lnTo>
                    <a:pt x="1300918" y="881354"/>
                  </a:lnTo>
                  <a:lnTo>
                    <a:pt x="1283911" y="922700"/>
                  </a:lnTo>
                  <a:lnTo>
                    <a:pt x="1264179" y="962600"/>
                  </a:lnTo>
                  <a:lnTo>
                    <a:pt x="1241836" y="1000943"/>
                  </a:lnTo>
                  <a:lnTo>
                    <a:pt x="1216996" y="1037619"/>
                  </a:lnTo>
                  <a:lnTo>
                    <a:pt x="1189772" y="1072516"/>
                  </a:lnTo>
                  <a:lnTo>
                    <a:pt x="1160277" y="1105523"/>
                  </a:lnTo>
                  <a:lnTo>
                    <a:pt x="1128626" y="1136528"/>
                  </a:lnTo>
                  <a:lnTo>
                    <a:pt x="1094931" y="1165421"/>
                  </a:lnTo>
                  <a:lnTo>
                    <a:pt x="1059306" y="1192090"/>
                  </a:lnTo>
                  <a:lnTo>
                    <a:pt x="1021865" y="1216424"/>
                  </a:lnTo>
                  <a:lnTo>
                    <a:pt x="982721" y="1238312"/>
                  </a:lnTo>
                  <a:lnTo>
                    <a:pt x="941987" y="1257642"/>
                  </a:lnTo>
                  <a:lnTo>
                    <a:pt x="899777" y="1274304"/>
                  </a:lnTo>
                  <a:lnTo>
                    <a:pt x="856205" y="1288185"/>
                  </a:lnTo>
                  <a:lnTo>
                    <a:pt x="811383" y="1299176"/>
                  </a:lnTo>
                  <a:lnTo>
                    <a:pt x="765426" y="1307164"/>
                  </a:lnTo>
                  <a:lnTo>
                    <a:pt x="718447" y="1312038"/>
                  </a:lnTo>
                  <a:lnTo>
                    <a:pt x="670560" y="1313688"/>
                  </a:lnTo>
                  <a:lnTo>
                    <a:pt x="622670" y="1312038"/>
                  </a:lnTo>
                  <a:lnTo>
                    <a:pt x="575690" y="1307164"/>
                  </a:lnTo>
                  <a:lnTo>
                    <a:pt x="529732" y="1299176"/>
                  </a:lnTo>
                  <a:lnTo>
                    <a:pt x="484910" y="1288185"/>
                  </a:lnTo>
                  <a:lnTo>
                    <a:pt x="441337" y="1274304"/>
                  </a:lnTo>
                  <a:lnTo>
                    <a:pt x="399127" y="1257642"/>
                  </a:lnTo>
                  <a:lnTo>
                    <a:pt x="358393" y="1238312"/>
                  </a:lnTo>
                  <a:lnTo>
                    <a:pt x="319249" y="1216424"/>
                  </a:lnTo>
                  <a:lnTo>
                    <a:pt x="281807" y="1192090"/>
                  </a:lnTo>
                  <a:lnTo>
                    <a:pt x="246183" y="1165421"/>
                  </a:lnTo>
                  <a:lnTo>
                    <a:pt x="212488" y="1136528"/>
                  </a:lnTo>
                  <a:lnTo>
                    <a:pt x="180837" y="1105523"/>
                  </a:lnTo>
                  <a:lnTo>
                    <a:pt x="151343" y="1072516"/>
                  </a:lnTo>
                  <a:lnTo>
                    <a:pt x="124120" y="1037619"/>
                  </a:lnTo>
                  <a:lnTo>
                    <a:pt x="99280" y="1000943"/>
                  </a:lnTo>
                  <a:lnTo>
                    <a:pt x="76938" y="962600"/>
                  </a:lnTo>
                  <a:lnTo>
                    <a:pt x="57206" y="922700"/>
                  </a:lnTo>
                  <a:lnTo>
                    <a:pt x="40199" y="881354"/>
                  </a:lnTo>
                  <a:lnTo>
                    <a:pt x="26030" y="838675"/>
                  </a:lnTo>
                  <a:lnTo>
                    <a:pt x="14812" y="794773"/>
                  </a:lnTo>
                  <a:lnTo>
                    <a:pt x="6658" y="749760"/>
                  </a:lnTo>
                  <a:lnTo>
                    <a:pt x="1683" y="703746"/>
                  </a:lnTo>
                  <a:lnTo>
                    <a:pt x="0" y="656843"/>
                  </a:lnTo>
                  <a:close/>
                </a:path>
              </a:pathLst>
            </a:custGeom>
            <a:ln w="25400">
              <a:solidFill>
                <a:srgbClr val="FFFFFF"/>
              </a:solidFill>
            </a:ln>
          </p:spPr>
          <p:txBody>
            <a:bodyPr wrap="square" lIns="0" tIns="0" rIns="0" bIns="0" rtlCol="0"/>
            <a:lstStyle/>
            <a:p>
              <a:endParaRPr/>
            </a:p>
          </p:txBody>
        </p:sp>
        <p:pic>
          <p:nvPicPr>
            <p:cNvPr id="6" name="object 6"/>
            <p:cNvPicPr/>
            <p:nvPr/>
          </p:nvPicPr>
          <p:blipFill>
            <a:blip r:embed="rId3" cstate="print"/>
            <a:stretch>
              <a:fillRect/>
            </a:stretch>
          </p:blipFill>
          <p:spPr>
            <a:xfrm>
              <a:off x="493776" y="582168"/>
              <a:ext cx="970788" cy="950976"/>
            </a:xfrm>
            <a:prstGeom prst="rect">
              <a:avLst/>
            </a:prstGeom>
          </p:spPr>
        </p:pic>
      </p:grpSp>
      <p:sp>
        <p:nvSpPr>
          <p:cNvPr id="10" name="object 10"/>
          <p:cNvSpPr txBox="1"/>
          <p:nvPr/>
        </p:nvSpPr>
        <p:spPr>
          <a:xfrm>
            <a:off x="7042531" y="4019804"/>
            <a:ext cx="2055495" cy="299720"/>
          </a:xfrm>
          <a:prstGeom prst="rect">
            <a:avLst/>
          </a:prstGeom>
        </p:spPr>
        <p:txBody>
          <a:bodyPr vert="horz" wrap="square" lIns="0" tIns="12700" rIns="0" bIns="0" rtlCol="0">
            <a:spAutoFit/>
          </a:bodyPr>
          <a:lstStyle/>
          <a:p>
            <a:pPr marL="12700">
              <a:spcBef>
                <a:spcPts val="100"/>
              </a:spcBef>
            </a:pPr>
            <a:r>
              <a:rPr i="1" spc="-10" dirty="0">
                <a:solidFill>
                  <a:srgbClr val="FFFFFF"/>
                </a:solidFill>
                <a:latin typeface="Calibri"/>
                <a:cs typeface="Calibri"/>
              </a:rPr>
              <a:t>Charlas</a:t>
            </a:r>
            <a:r>
              <a:rPr i="1" spc="-25" dirty="0">
                <a:solidFill>
                  <a:srgbClr val="FFFFFF"/>
                </a:solidFill>
                <a:latin typeface="Calibri"/>
                <a:cs typeface="Calibri"/>
              </a:rPr>
              <a:t> </a:t>
            </a:r>
            <a:r>
              <a:rPr i="1" spc="-5" dirty="0">
                <a:solidFill>
                  <a:srgbClr val="FFFFFF"/>
                </a:solidFill>
                <a:latin typeface="Calibri"/>
                <a:cs typeface="Calibri"/>
              </a:rPr>
              <a:t>de</a:t>
            </a:r>
            <a:r>
              <a:rPr i="1" spc="-20" dirty="0">
                <a:solidFill>
                  <a:srgbClr val="FFFFFF"/>
                </a:solidFill>
                <a:latin typeface="Calibri"/>
                <a:cs typeface="Calibri"/>
              </a:rPr>
              <a:t> </a:t>
            </a:r>
            <a:r>
              <a:rPr i="1" spc="-5" dirty="0">
                <a:solidFill>
                  <a:srgbClr val="FFFFFF"/>
                </a:solidFill>
                <a:latin typeface="Calibri"/>
                <a:cs typeface="Calibri"/>
              </a:rPr>
              <a:t>bienvenida</a:t>
            </a:r>
            <a:endParaRPr dirty="0">
              <a:latin typeface="Calibri"/>
              <a:cs typeface="Calibri"/>
            </a:endParaRPr>
          </a:p>
        </p:txBody>
      </p:sp>
      <p:sp>
        <p:nvSpPr>
          <p:cNvPr id="11" name="object 11"/>
          <p:cNvSpPr txBox="1"/>
          <p:nvPr/>
        </p:nvSpPr>
        <p:spPr>
          <a:xfrm>
            <a:off x="3459226" y="1730502"/>
            <a:ext cx="1601470" cy="299720"/>
          </a:xfrm>
          <a:prstGeom prst="rect">
            <a:avLst/>
          </a:prstGeom>
        </p:spPr>
        <p:txBody>
          <a:bodyPr vert="horz" wrap="square" lIns="0" tIns="12700" rIns="0" bIns="0" rtlCol="0">
            <a:spAutoFit/>
          </a:bodyPr>
          <a:lstStyle/>
          <a:p>
            <a:pPr marL="12700">
              <a:spcBef>
                <a:spcPts val="100"/>
              </a:spcBef>
            </a:pPr>
            <a:r>
              <a:rPr i="1" spc="-10" dirty="0">
                <a:solidFill>
                  <a:srgbClr val="FFFFFF"/>
                </a:solidFill>
                <a:latin typeface="Calibri"/>
                <a:cs typeface="Calibri"/>
              </a:rPr>
              <a:t>Stand</a:t>
            </a:r>
            <a:r>
              <a:rPr i="1" spc="-45" dirty="0">
                <a:solidFill>
                  <a:srgbClr val="FFFFFF"/>
                </a:solidFill>
                <a:latin typeface="Calibri"/>
                <a:cs typeface="Calibri"/>
              </a:rPr>
              <a:t> </a:t>
            </a:r>
            <a:r>
              <a:rPr i="1" dirty="0">
                <a:solidFill>
                  <a:srgbClr val="FFFFFF"/>
                </a:solidFill>
                <a:latin typeface="Calibri"/>
                <a:cs typeface="Calibri"/>
              </a:rPr>
              <a:t>en</a:t>
            </a:r>
            <a:r>
              <a:rPr i="1" spc="-25" dirty="0">
                <a:solidFill>
                  <a:srgbClr val="FFFFFF"/>
                </a:solidFill>
                <a:latin typeface="Calibri"/>
                <a:cs typeface="Calibri"/>
              </a:rPr>
              <a:t> </a:t>
            </a:r>
            <a:r>
              <a:rPr i="1" spc="-10" dirty="0">
                <a:solidFill>
                  <a:srgbClr val="FFFFFF"/>
                </a:solidFill>
                <a:latin typeface="Calibri"/>
                <a:cs typeface="Calibri"/>
              </a:rPr>
              <a:t>eventos</a:t>
            </a:r>
            <a:endParaRPr dirty="0">
              <a:latin typeface="Calibri"/>
              <a:cs typeface="Calibri"/>
            </a:endParaRPr>
          </a:p>
        </p:txBody>
      </p:sp>
      <p:sp>
        <p:nvSpPr>
          <p:cNvPr id="16" name="CuadroTexto 15">
            <a:extLst>
              <a:ext uri="{FF2B5EF4-FFF2-40B4-BE49-F238E27FC236}">
                <a16:creationId xmlns:a16="http://schemas.microsoft.com/office/drawing/2014/main" id="{5649559F-83CC-0949-EA9C-4C14111F07F6}"/>
              </a:ext>
            </a:extLst>
          </p:cNvPr>
          <p:cNvSpPr txBox="1"/>
          <p:nvPr/>
        </p:nvSpPr>
        <p:spPr>
          <a:xfrm>
            <a:off x="3246530" y="272651"/>
            <a:ext cx="6029706" cy="646331"/>
          </a:xfrm>
          <a:prstGeom prst="rect">
            <a:avLst/>
          </a:prstGeom>
          <a:noFill/>
        </p:spPr>
        <p:txBody>
          <a:bodyPr wrap="square">
            <a:spAutoFit/>
          </a:bodyPr>
          <a:lstStyle/>
          <a:p>
            <a:r>
              <a:rPr lang="en-US" sz="3600" b="1" kern="0" dirty="0">
                <a:solidFill>
                  <a:schemeClr val="bg1"/>
                </a:solidFill>
              </a:rPr>
              <a:t>IEEE Senior Member</a:t>
            </a:r>
          </a:p>
        </p:txBody>
      </p:sp>
      <p:pic>
        <p:nvPicPr>
          <p:cNvPr id="8" name="Imagen 7">
            <a:extLst>
              <a:ext uri="{FF2B5EF4-FFF2-40B4-BE49-F238E27FC236}">
                <a16:creationId xmlns:a16="http://schemas.microsoft.com/office/drawing/2014/main" id="{9D3039AB-7CC6-1FB9-1A07-C20884D11A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000" y="1905000"/>
            <a:ext cx="3362806" cy="2621400"/>
          </a:xfrm>
          <a:prstGeom prst="rect">
            <a:avLst/>
          </a:prstGeom>
        </p:spPr>
      </p:pic>
    </p:spTree>
    <p:extLst>
      <p:ext uri="{BB962C8B-B14F-4D97-AF65-F5344CB8AC3E}">
        <p14:creationId xmlns:p14="http://schemas.microsoft.com/office/powerpoint/2010/main" val="32629729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063495" y="5661659"/>
            <a:ext cx="1944624" cy="810768"/>
          </a:xfrm>
          <a:prstGeom prst="rect">
            <a:avLst/>
          </a:prstGeom>
        </p:spPr>
      </p:pic>
      <p:grpSp>
        <p:nvGrpSpPr>
          <p:cNvPr id="3" name="object 3"/>
          <p:cNvGrpSpPr/>
          <p:nvPr/>
        </p:nvGrpSpPr>
        <p:grpSpPr>
          <a:xfrm>
            <a:off x="1828800" y="1524000"/>
            <a:ext cx="8915400" cy="3429000"/>
            <a:chOff x="1499869" y="2048510"/>
            <a:chExt cx="6325870" cy="2186940"/>
          </a:xfrm>
        </p:grpSpPr>
        <p:pic>
          <p:nvPicPr>
            <p:cNvPr id="4" name="object 4"/>
            <p:cNvPicPr/>
            <p:nvPr/>
          </p:nvPicPr>
          <p:blipFill>
            <a:blip r:embed="rId3" cstate="print"/>
            <a:stretch>
              <a:fillRect/>
            </a:stretch>
          </p:blipFill>
          <p:spPr>
            <a:xfrm>
              <a:off x="2011679" y="2679192"/>
              <a:ext cx="5120640" cy="847343"/>
            </a:xfrm>
            <a:prstGeom prst="rect">
              <a:avLst/>
            </a:prstGeom>
          </p:spPr>
        </p:pic>
        <p:sp>
          <p:nvSpPr>
            <p:cNvPr id="5" name="object 5"/>
            <p:cNvSpPr/>
            <p:nvPr/>
          </p:nvSpPr>
          <p:spPr>
            <a:xfrm>
              <a:off x="1512569" y="2061210"/>
              <a:ext cx="6300470" cy="2161540"/>
            </a:xfrm>
            <a:custGeom>
              <a:avLst/>
              <a:gdLst/>
              <a:ahLst/>
              <a:cxnLst/>
              <a:rect l="l" t="t" r="r" b="b"/>
              <a:pathLst>
                <a:path w="6300470" h="2161540">
                  <a:moveTo>
                    <a:pt x="0" y="360172"/>
                  </a:moveTo>
                  <a:lnTo>
                    <a:pt x="3288" y="311306"/>
                  </a:lnTo>
                  <a:lnTo>
                    <a:pt x="12868" y="264436"/>
                  </a:lnTo>
                  <a:lnTo>
                    <a:pt x="28309" y="219991"/>
                  </a:lnTo>
                  <a:lnTo>
                    <a:pt x="49181" y="178402"/>
                  </a:lnTo>
                  <a:lnTo>
                    <a:pt x="75057" y="140096"/>
                  </a:lnTo>
                  <a:lnTo>
                    <a:pt x="105505" y="105505"/>
                  </a:lnTo>
                  <a:lnTo>
                    <a:pt x="140096" y="75057"/>
                  </a:lnTo>
                  <a:lnTo>
                    <a:pt x="178402" y="49181"/>
                  </a:lnTo>
                  <a:lnTo>
                    <a:pt x="219991" y="28309"/>
                  </a:lnTo>
                  <a:lnTo>
                    <a:pt x="264436" y="12868"/>
                  </a:lnTo>
                  <a:lnTo>
                    <a:pt x="311306" y="3288"/>
                  </a:lnTo>
                  <a:lnTo>
                    <a:pt x="360172" y="0"/>
                  </a:lnTo>
                  <a:lnTo>
                    <a:pt x="5940044" y="0"/>
                  </a:lnTo>
                  <a:lnTo>
                    <a:pt x="5988909" y="3288"/>
                  </a:lnTo>
                  <a:lnTo>
                    <a:pt x="6035779" y="12868"/>
                  </a:lnTo>
                  <a:lnTo>
                    <a:pt x="6080224" y="28309"/>
                  </a:lnTo>
                  <a:lnTo>
                    <a:pt x="6121813" y="49181"/>
                  </a:lnTo>
                  <a:lnTo>
                    <a:pt x="6160119" y="75057"/>
                  </a:lnTo>
                  <a:lnTo>
                    <a:pt x="6194710" y="105505"/>
                  </a:lnTo>
                  <a:lnTo>
                    <a:pt x="6225158" y="140096"/>
                  </a:lnTo>
                  <a:lnTo>
                    <a:pt x="6251034" y="178402"/>
                  </a:lnTo>
                  <a:lnTo>
                    <a:pt x="6271906" y="219991"/>
                  </a:lnTo>
                  <a:lnTo>
                    <a:pt x="6287347" y="264436"/>
                  </a:lnTo>
                  <a:lnTo>
                    <a:pt x="6296927" y="311306"/>
                  </a:lnTo>
                  <a:lnTo>
                    <a:pt x="6300215" y="360172"/>
                  </a:lnTo>
                  <a:lnTo>
                    <a:pt x="6300215" y="1800859"/>
                  </a:lnTo>
                  <a:lnTo>
                    <a:pt x="6296927" y="1849725"/>
                  </a:lnTo>
                  <a:lnTo>
                    <a:pt x="6287347" y="1896595"/>
                  </a:lnTo>
                  <a:lnTo>
                    <a:pt x="6271906" y="1941040"/>
                  </a:lnTo>
                  <a:lnTo>
                    <a:pt x="6251034" y="1982629"/>
                  </a:lnTo>
                  <a:lnTo>
                    <a:pt x="6225158" y="2020935"/>
                  </a:lnTo>
                  <a:lnTo>
                    <a:pt x="6194710" y="2055526"/>
                  </a:lnTo>
                  <a:lnTo>
                    <a:pt x="6160119" y="2085974"/>
                  </a:lnTo>
                  <a:lnTo>
                    <a:pt x="6121813" y="2111850"/>
                  </a:lnTo>
                  <a:lnTo>
                    <a:pt x="6080224" y="2132722"/>
                  </a:lnTo>
                  <a:lnTo>
                    <a:pt x="6035779" y="2148163"/>
                  </a:lnTo>
                  <a:lnTo>
                    <a:pt x="5988909" y="2157743"/>
                  </a:lnTo>
                  <a:lnTo>
                    <a:pt x="5940044" y="2161032"/>
                  </a:lnTo>
                  <a:lnTo>
                    <a:pt x="360172" y="2161032"/>
                  </a:lnTo>
                  <a:lnTo>
                    <a:pt x="311306" y="2157743"/>
                  </a:lnTo>
                  <a:lnTo>
                    <a:pt x="264436" y="2148163"/>
                  </a:lnTo>
                  <a:lnTo>
                    <a:pt x="219991" y="2132722"/>
                  </a:lnTo>
                  <a:lnTo>
                    <a:pt x="178402" y="2111850"/>
                  </a:lnTo>
                  <a:lnTo>
                    <a:pt x="140096" y="2085974"/>
                  </a:lnTo>
                  <a:lnTo>
                    <a:pt x="105505" y="2055526"/>
                  </a:lnTo>
                  <a:lnTo>
                    <a:pt x="75057" y="2020935"/>
                  </a:lnTo>
                  <a:lnTo>
                    <a:pt x="49181" y="1982629"/>
                  </a:lnTo>
                  <a:lnTo>
                    <a:pt x="28309" y="1941040"/>
                  </a:lnTo>
                  <a:lnTo>
                    <a:pt x="12868" y="1896595"/>
                  </a:lnTo>
                  <a:lnTo>
                    <a:pt x="3288" y="1849725"/>
                  </a:lnTo>
                  <a:lnTo>
                    <a:pt x="0" y="1800859"/>
                  </a:lnTo>
                  <a:lnTo>
                    <a:pt x="0" y="360172"/>
                  </a:lnTo>
                  <a:close/>
                </a:path>
              </a:pathLst>
            </a:custGeom>
            <a:ln w="25399">
              <a:solidFill>
                <a:srgbClr val="FFFFFF"/>
              </a:solidFill>
            </a:ln>
          </p:spPr>
          <p:txBody>
            <a:bodyPr wrap="square" lIns="0" tIns="0" rIns="0" bIns="0" rtlCol="0"/>
            <a:lstStyle/>
            <a:p>
              <a:endParaRPr/>
            </a:p>
          </p:txBody>
        </p:sp>
      </p:grpSp>
      <p:sp>
        <p:nvSpPr>
          <p:cNvPr id="7" name="object 11"/>
          <p:cNvSpPr txBox="1"/>
          <p:nvPr/>
        </p:nvSpPr>
        <p:spPr>
          <a:xfrm>
            <a:off x="6324601" y="6043182"/>
            <a:ext cx="4953000" cy="382156"/>
          </a:xfrm>
          <a:prstGeom prst="rect">
            <a:avLst/>
          </a:prstGeom>
        </p:spPr>
        <p:txBody>
          <a:bodyPr vert="horz" wrap="square" lIns="0" tIns="12700" rIns="0" bIns="0" rtlCol="0">
            <a:spAutoFit/>
          </a:bodyPr>
          <a:lstStyle/>
          <a:p>
            <a:pPr marL="12700">
              <a:spcBef>
                <a:spcPts val="100"/>
              </a:spcBef>
            </a:pPr>
            <a:r>
              <a:rPr lang="es-ES" sz="2400" dirty="0">
                <a:solidFill>
                  <a:srgbClr val="FFFFFF"/>
                </a:solidFill>
                <a:latin typeface="Calibri"/>
                <a:cs typeface="Calibri"/>
              </a:rPr>
              <a:t>Presentación Teleco Campus Sur UPM</a:t>
            </a:r>
            <a:endParaRPr sz="2400" dirty="0">
              <a:latin typeface="Calibri"/>
              <a:cs typeface="Calibri"/>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712381" y="505454"/>
            <a:ext cx="1366520" cy="1339215"/>
            <a:chOff x="311150" y="373634"/>
            <a:chExt cx="1366520" cy="1339215"/>
          </a:xfrm>
        </p:grpSpPr>
        <p:sp>
          <p:nvSpPr>
            <p:cNvPr id="4" name="object 4"/>
            <p:cNvSpPr/>
            <p:nvPr/>
          </p:nvSpPr>
          <p:spPr>
            <a:xfrm>
              <a:off x="323850" y="386334"/>
              <a:ext cx="1341120" cy="1313815"/>
            </a:xfrm>
            <a:custGeom>
              <a:avLst/>
              <a:gdLst/>
              <a:ahLst/>
              <a:cxnLst/>
              <a:rect l="l" t="t" r="r" b="b"/>
              <a:pathLst>
                <a:path w="1341120" h="1313814">
                  <a:moveTo>
                    <a:pt x="670560" y="0"/>
                  </a:moveTo>
                  <a:lnTo>
                    <a:pt x="622670" y="1649"/>
                  </a:lnTo>
                  <a:lnTo>
                    <a:pt x="575690" y="6523"/>
                  </a:lnTo>
                  <a:lnTo>
                    <a:pt x="529732" y="14511"/>
                  </a:lnTo>
                  <a:lnTo>
                    <a:pt x="484910" y="25502"/>
                  </a:lnTo>
                  <a:lnTo>
                    <a:pt x="441337" y="39383"/>
                  </a:lnTo>
                  <a:lnTo>
                    <a:pt x="399127" y="56045"/>
                  </a:lnTo>
                  <a:lnTo>
                    <a:pt x="358393" y="75375"/>
                  </a:lnTo>
                  <a:lnTo>
                    <a:pt x="319249" y="97263"/>
                  </a:lnTo>
                  <a:lnTo>
                    <a:pt x="281807" y="121597"/>
                  </a:lnTo>
                  <a:lnTo>
                    <a:pt x="246183" y="148266"/>
                  </a:lnTo>
                  <a:lnTo>
                    <a:pt x="212488" y="177159"/>
                  </a:lnTo>
                  <a:lnTo>
                    <a:pt x="180837" y="208164"/>
                  </a:lnTo>
                  <a:lnTo>
                    <a:pt x="151343" y="241171"/>
                  </a:lnTo>
                  <a:lnTo>
                    <a:pt x="124120" y="276068"/>
                  </a:lnTo>
                  <a:lnTo>
                    <a:pt x="99280" y="312744"/>
                  </a:lnTo>
                  <a:lnTo>
                    <a:pt x="76938" y="351087"/>
                  </a:lnTo>
                  <a:lnTo>
                    <a:pt x="57206" y="390987"/>
                  </a:lnTo>
                  <a:lnTo>
                    <a:pt x="40199" y="432333"/>
                  </a:lnTo>
                  <a:lnTo>
                    <a:pt x="26030" y="475012"/>
                  </a:lnTo>
                  <a:lnTo>
                    <a:pt x="14812" y="518914"/>
                  </a:lnTo>
                  <a:lnTo>
                    <a:pt x="6658" y="563927"/>
                  </a:lnTo>
                  <a:lnTo>
                    <a:pt x="1683" y="609941"/>
                  </a:lnTo>
                  <a:lnTo>
                    <a:pt x="0" y="656843"/>
                  </a:lnTo>
                  <a:lnTo>
                    <a:pt x="1683" y="703746"/>
                  </a:lnTo>
                  <a:lnTo>
                    <a:pt x="6658" y="749760"/>
                  </a:lnTo>
                  <a:lnTo>
                    <a:pt x="14812" y="794773"/>
                  </a:lnTo>
                  <a:lnTo>
                    <a:pt x="26030" y="838675"/>
                  </a:lnTo>
                  <a:lnTo>
                    <a:pt x="40199" y="881354"/>
                  </a:lnTo>
                  <a:lnTo>
                    <a:pt x="57206" y="922700"/>
                  </a:lnTo>
                  <a:lnTo>
                    <a:pt x="76938" y="962600"/>
                  </a:lnTo>
                  <a:lnTo>
                    <a:pt x="99280" y="1000943"/>
                  </a:lnTo>
                  <a:lnTo>
                    <a:pt x="124120" y="1037619"/>
                  </a:lnTo>
                  <a:lnTo>
                    <a:pt x="151343" y="1072516"/>
                  </a:lnTo>
                  <a:lnTo>
                    <a:pt x="180837" y="1105523"/>
                  </a:lnTo>
                  <a:lnTo>
                    <a:pt x="212488" y="1136528"/>
                  </a:lnTo>
                  <a:lnTo>
                    <a:pt x="246183" y="1165421"/>
                  </a:lnTo>
                  <a:lnTo>
                    <a:pt x="281807" y="1192090"/>
                  </a:lnTo>
                  <a:lnTo>
                    <a:pt x="319249" y="1216424"/>
                  </a:lnTo>
                  <a:lnTo>
                    <a:pt x="358393" y="1238312"/>
                  </a:lnTo>
                  <a:lnTo>
                    <a:pt x="399127" y="1257642"/>
                  </a:lnTo>
                  <a:lnTo>
                    <a:pt x="441337" y="1274304"/>
                  </a:lnTo>
                  <a:lnTo>
                    <a:pt x="484910" y="1288185"/>
                  </a:lnTo>
                  <a:lnTo>
                    <a:pt x="529732" y="1299176"/>
                  </a:lnTo>
                  <a:lnTo>
                    <a:pt x="575690" y="1307164"/>
                  </a:lnTo>
                  <a:lnTo>
                    <a:pt x="622670" y="1312038"/>
                  </a:lnTo>
                  <a:lnTo>
                    <a:pt x="670560" y="1313688"/>
                  </a:lnTo>
                  <a:lnTo>
                    <a:pt x="718447" y="1312038"/>
                  </a:lnTo>
                  <a:lnTo>
                    <a:pt x="765426" y="1307164"/>
                  </a:lnTo>
                  <a:lnTo>
                    <a:pt x="811383" y="1299176"/>
                  </a:lnTo>
                  <a:lnTo>
                    <a:pt x="856205" y="1288185"/>
                  </a:lnTo>
                  <a:lnTo>
                    <a:pt x="899777" y="1274304"/>
                  </a:lnTo>
                  <a:lnTo>
                    <a:pt x="941987" y="1257642"/>
                  </a:lnTo>
                  <a:lnTo>
                    <a:pt x="982721" y="1238312"/>
                  </a:lnTo>
                  <a:lnTo>
                    <a:pt x="1021865" y="1216424"/>
                  </a:lnTo>
                  <a:lnTo>
                    <a:pt x="1059306" y="1192090"/>
                  </a:lnTo>
                  <a:lnTo>
                    <a:pt x="1094931" y="1165421"/>
                  </a:lnTo>
                  <a:lnTo>
                    <a:pt x="1128626" y="1136528"/>
                  </a:lnTo>
                  <a:lnTo>
                    <a:pt x="1160277" y="1105523"/>
                  </a:lnTo>
                  <a:lnTo>
                    <a:pt x="1189772" y="1072516"/>
                  </a:lnTo>
                  <a:lnTo>
                    <a:pt x="1216996" y="1037619"/>
                  </a:lnTo>
                  <a:lnTo>
                    <a:pt x="1241836" y="1000943"/>
                  </a:lnTo>
                  <a:lnTo>
                    <a:pt x="1264179" y="962600"/>
                  </a:lnTo>
                  <a:lnTo>
                    <a:pt x="1283911" y="922700"/>
                  </a:lnTo>
                  <a:lnTo>
                    <a:pt x="1300918" y="881354"/>
                  </a:lnTo>
                  <a:lnTo>
                    <a:pt x="1315088" y="838675"/>
                  </a:lnTo>
                  <a:lnTo>
                    <a:pt x="1326307" y="794773"/>
                  </a:lnTo>
                  <a:lnTo>
                    <a:pt x="1334460" y="749760"/>
                  </a:lnTo>
                  <a:lnTo>
                    <a:pt x="1339436" y="703746"/>
                  </a:lnTo>
                  <a:lnTo>
                    <a:pt x="1341120" y="656843"/>
                  </a:lnTo>
                  <a:lnTo>
                    <a:pt x="1339436" y="609941"/>
                  </a:lnTo>
                  <a:lnTo>
                    <a:pt x="1334460" y="563927"/>
                  </a:lnTo>
                  <a:lnTo>
                    <a:pt x="1326307" y="518914"/>
                  </a:lnTo>
                  <a:lnTo>
                    <a:pt x="1315088" y="475012"/>
                  </a:lnTo>
                  <a:lnTo>
                    <a:pt x="1300918" y="432333"/>
                  </a:lnTo>
                  <a:lnTo>
                    <a:pt x="1283911" y="390987"/>
                  </a:lnTo>
                  <a:lnTo>
                    <a:pt x="1264179" y="351087"/>
                  </a:lnTo>
                  <a:lnTo>
                    <a:pt x="1241836" y="312744"/>
                  </a:lnTo>
                  <a:lnTo>
                    <a:pt x="1216996" y="276068"/>
                  </a:lnTo>
                  <a:lnTo>
                    <a:pt x="1189772" y="241171"/>
                  </a:lnTo>
                  <a:lnTo>
                    <a:pt x="1160277" y="208164"/>
                  </a:lnTo>
                  <a:lnTo>
                    <a:pt x="1128626" y="177159"/>
                  </a:lnTo>
                  <a:lnTo>
                    <a:pt x="1094931" y="148266"/>
                  </a:lnTo>
                  <a:lnTo>
                    <a:pt x="1059306" y="121597"/>
                  </a:lnTo>
                  <a:lnTo>
                    <a:pt x="1021865" y="97263"/>
                  </a:lnTo>
                  <a:lnTo>
                    <a:pt x="982721" y="75375"/>
                  </a:lnTo>
                  <a:lnTo>
                    <a:pt x="941987" y="56045"/>
                  </a:lnTo>
                  <a:lnTo>
                    <a:pt x="899777" y="39383"/>
                  </a:lnTo>
                  <a:lnTo>
                    <a:pt x="856205" y="25502"/>
                  </a:lnTo>
                  <a:lnTo>
                    <a:pt x="811383" y="14511"/>
                  </a:lnTo>
                  <a:lnTo>
                    <a:pt x="765426" y="6523"/>
                  </a:lnTo>
                  <a:lnTo>
                    <a:pt x="718447" y="1649"/>
                  </a:lnTo>
                  <a:lnTo>
                    <a:pt x="670560" y="0"/>
                  </a:lnTo>
                  <a:close/>
                </a:path>
              </a:pathLst>
            </a:custGeom>
            <a:solidFill>
              <a:srgbClr val="FFFFFF"/>
            </a:solidFill>
          </p:spPr>
          <p:txBody>
            <a:bodyPr wrap="square" lIns="0" tIns="0" rIns="0" bIns="0" rtlCol="0"/>
            <a:lstStyle/>
            <a:p>
              <a:endParaRPr/>
            </a:p>
          </p:txBody>
        </p:sp>
        <p:sp>
          <p:nvSpPr>
            <p:cNvPr id="5" name="object 5"/>
            <p:cNvSpPr/>
            <p:nvPr/>
          </p:nvSpPr>
          <p:spPr>
            <a:xfrm>
              <a:off x="323850" y="386334"/>
              <a:ext cx="1341120" cy="1313815"/>
            </a:xfrm>
            <a:custGeom>
              <a:avLst/>
              <a:gdLst/>
              <a:ahLst/>
              <a:cxnLst/>
              <a:rect l="l" t="t" r="r" b="b"/>
              <a:pathLst>
                <a:path w="1341120" h="1313814">
                  <a:moveTo>
                    <a:pt x="0" y="656843"/>
                  </a:moveTo>
                  <a:lnTo>
                    <a:pt x="1683" y="609941"/>
                  </a:lnTo>
                  <a:lnTo>
                    <a:pt x="6658" y="563927"/>
                  </a:lnTo>
                  <a:lnTo>
                    <a:pt x="14812" y="518914"/>
                  </a:lnTo>
                  <a:lnTo>
                    <a:pt x="26030" y="475012"/>
                  </a:lnTo>
                  <a:lnTo>
                    <a:pt x="40199" y="432333"/>
                  </a:lnTo>
                  <a:lnTo>
                    <a:pt x="57206" y="390987"/>
                  </a:lnTo>
                  <a:lnTo>
                    <a:pt x="76938" y="351087"/>
                  </a:lnTo>
                  <a:lnTo>
                    <a:pt x="99280" y="312744"/>
                  </a:lnTo>
                  <a:lnTo>
                    <a:pt x="124120" y="276068"/>
                  </a:lnTo>
                  <a:lnTo>
                    <a:pt x="151343" y="241171"/>
                  </a:lnTo>
                  <a:lnTo>
                    <a:pt x="180837" y="208164"/>
                  </a:lnTo>
                  <a:lnTo>
                    <a:pt x="212488" y="177159"/>
                  </a:lnTo>
                  <a:lnTo>
                    <a:pt x="246183" y="148266"/>
                  </a:lnTo>
                  <a:lnTo>
                    <a:pt x="281807" y="121597"/>
                  </a:lnTo>
                  <a:lnTo>
                    <a:pt x="319249" y="97263"/>
                  </a:lnTo>
                  <a:lnTo>
                    <a:pt x="358393" y="75375"/>
                  </a:lnTo>
                  <a:lnTo>
                    <a:pt x="399127" y="56045"/>
                  </a:lnTo>
                  <a:lnTo>
                    <a:pt x="441337" y="39383"/>
                  </a:lnTo>
                  <a:lnTo>
                    <a:pt x="484910" y="25502"/>
                  </a:lnTo>
                  <a:lnTo>
                    <a:pt x="529732" y="14511"/>
                  </a:lnTo>
                  <a:lnTo>
                    <a:pt x="575690" y="6523"/>
                  </a:lnTo>
                  <a:lnTo>
                    <a:pt x="622670" y="1649"/>
                  </a:lnTo>
                  <a:lnTo>
                    <a:pt x="670560" y="0"/>
                  </a:lnTo>
                  <a:lnTo>
                    <a:pt x="718447" y="1649"/>
                  </a:lnTo>
                  <a:lnTo>
                    <a:pt x="765426" y="6523"/>
                  </a:lnTo>
                  <a:lnTo>
                    <a:pt x="811383" y="14511"/>
                  </a:lnTo>
                  <a:lnTo>
                    <a:pt x="856205" y="25502"/>
                  </a:lnTo>
                  <a:lnTo>
                    <a:pt x="899777" y="39383"/>
                  </a:lnTo>
                  <a:lnTo>
                    <a:pt x="941987" y="56045"/>
                  </a:lnTo>
                  <a:lnTo>
                    <a:pt x="982721" y="75375"/>
                  </a:lnTo>
                  <a:lnTo>
                    <a:pt x="1021865" y="97263"/>
                  </a:lnTo>
                  <a:lnTo>
                    <a:pt x="1059306" y="121597"/>
                  </a:lnTo>
                  <a:lnTo>
                    <a:pt x="1094931" y="148266"/>
                  </a:lnTo>
                  <a:lnTo>
                    <a:pt x="1128626" y="177159"/>
                  </a:lnTo>
                  <a:lnTo>
                    <a:pt x="1160277" y="208164"/>
                  </a:lnTo>
                  <a:lnTo>
                    <a:pt x="1189772" y="241171"/>
                  </a:lnTo>
                  <a:lnTo>
                    <a:pt x="1216996" y="276068"/>
                  </a:lnTo>
                  <a:lnTo>
                    <a:pt x="1241836" y="312744"/>
                  </a:lnTo>
                  <a:lnTo>
                    <a:pt x="1264179" y="351087"/>
                  </a:lnTo>
                  <a:lnTo>
                    <a:pt x="1283911" y="390987"/>
                  </a:lnTo>
                  <a:lnTo>
                    <a:pt x="1300918" y="432333"/>
                  </a:lnTo>
                  <a:lnTo>
                    <a:pt x="1315088" y="475012"/>
                  </a:lnTo>
                  <a:lnTo>
                    <a:pt x="1326307" y="518914"/>
                  </a:lnTo>
                  <a:lnTo>
                    <a:pt x="1334460" y="563927"/>
                  </a:lnTo>
                  <a:lnTo>
                    <a:pt x="1339436" y="609941"/>
                  </a:lnTo>
                  <a:lnTo>
                    <a:pt x="1341120" y="656843"/>
                  </a:lnTo>
                  <a:lnTo>
                    <a:pt x="1339436" y="703746"/>
                  </a:lnTo>
                  <a:lnTo>
                    <a:pt x="1334460" y="749760"/>
                  </a:lnTo>
                  <a:lnTo>
                    <a:pt x="1326307" y="794773"/>
                  </a:lnTo>
                  <a:lnTo>
                    <a:pt x="1315088" y="838675"/>
                  </a:lnTo>
                  <a:lnTo>
                    <a:pt x="1300918" y="881354"/>
                  </a:lnTo>
                  <a:lnTo>
                    <a:pt x="1283911" y="922700"/>
                  </a:lnTo>
                  <a:lnTo>
                    <a:pt x="1264179" y="962600"/>
                  </a:lnTo>
                  <a:lnTo>
                    <a:pt x="1241836" y="1000943"/>
                  </a:lnTo>
                  <a:lnTo>
                    <a:pt x="1216996" y="1037619"/>
                  </a:lnTo>
                  <a:lnTo>
                    <a:pt x="1189772" y="1072516"/>
                  </a:lnTo>
                  <a:lnTo>
                    <a:pt x="1160277" y="1105523"/>
                  </a:lnTo>
                  <a:lnTo>
                    <a:pt x="1128626" y="1136528"/>
                  </a:lnTo>
                  <a:lnTo>
                    <a:pt x="1094931" y="1165421"/>
                  </a:lnTo>
                  <a:lnTo>
                    <a:pt x="1059306" y="1192090"/>
                  </a:lnTo>
                  <a:lnTo>
                    <a:pt x="1021865" y="1216424"/>
                  </a:lnTo>
                  <a:lnTo>
                    <a:pt x="982721" y="1238312"/>
                  </a:lnTo>
                  <a:lnTo>
                    <a:pt x="941987" y="1257642"/>
                  </a:lnTo>
                  <a:lnTo>
                    <a:pt x="899777" y="1274304"/>
                  </a:lnTo>
                  <a:lnTo>
                    <a:pt x="856205" y="1288185"/>
                  </a:lnTo>
                  <a:lnTo>
                    <a:pt x="811383" y="1299176"/>
                  </a:lnTo>
                  <a:lnTo>
                    <a:pt x="765426" y="1307164"/>
                  </a:lnTo>
                  <a:lnTo>
                    <a:pt x="718447" y="1312038"/>
                  </a:lnTo>
                  <a:lnTo>
                    <a:pt x="670560" y="1313688"/>
                  </a:lnTo>
                  <a:lnTo>
                    <a:pt x="622670" y="1312038"/>
                  </a:lnTo>
                  <a:lnTo>
                    <a:pt x="575690" y="1307164"/>
                  </a:lnTo>
                  <a:lnTo>
                    <a:pt x="529732" y="1299176"/>
                  </a:lnTo>
                  <a:lnTo>
                    <a:pt x="484910" y="1288185"/>
                  </a:lnTo>
                  <a:lnTo>
                    <a:pt x="441337" y="1274304"/>
                  </a:lnTo>
                  <a:lnTo>
                    <a:pt x="399127" y="1257642"/>
                  </a:lnTo>
                  <a:lnTo>
                    <a:pt x="358393" y="1238312"/>
                  </a:lnTo>
                  <a:lnTo>
                    <a:pt x="319249" y="1216424"/>
                  </a:lnTo>
                  <a:lnTo>
                    <a:pt x="281807" y="1192090"/>
                  </a:lnTo>
                  <a:lnTo>
                    <a:pt x="246183" y="1165421"/>
                  </a:lnTo>
                  <a:lnTo>
                    <a:pt x="212488" y="1136528"/>
                  </a:lnTo>
                  <a:lnTo>
                    <a:pt x="180837" y="1105523"/>
                  </a:lnTo>
                  <a:lnTo>
                    <a:pt x="151343" y="1072516"/>
                  </a:lnTo>
                  <a:lnTo>
                    <a:pt x="124120" y="1037619"/>
                  </a:lnTo>
                  <a:lnTo>
                    <a:pt x="99280" y="1000943"/>
                  </a:lnTo>
                  <a:lnTo>
                    <a:pt x="76938" y="962600"/>
                  </a:lnTo>
                  <a:lnTo>
                    <a:pt x="57206" y="922700"/>
                  </a:lnTo>
                  <a:lnTo>
                    <a:pt x="40199" y="881354"/>
                  </a:lnTo>
                  <a:lnTo>
                    <a:pt x="26030" y="838675"/>
                  </a:lnTo>
                  <a:lnTo>
                    <a:pt x="14812" y="794773"/>
                  </a:lnTo>
                  <a:lnTo>
                    <a:pt x="6658" y="749760"/>
                  </a:lnTo>
                  <a:lnTo>
                    <a:pt x="1683" y="703746"/>
                  </a:lnTo>
                  <a:lnTo>
                    <a:pt x="0" y="656843"/>
                  </a:lnTo>
                  <a:close/>
                </a:path>
              </a:pathLst>
            </a:custGeom>
            <a:ln w="25400">
              <a:solidFill>
                <a:srgbClr val="FFFFFF"/>
              </a:solidFill>
            </a:ln>
          </p:spPr>
          <p:txBody>
            <a:bodyPr wrap="square" lIns="0" tIns="0" rIns="0" bIns="0" rtlCol="0"/>
            <a:lstStyle/>
            <a:p>
              <a:endParaRPr/>
            </a:p>
          </p:txBody>
        </p:sp>
        <p:pic>
          <p:nvPicPr>
            <p:cNvPr id="6" name="object 6"/>
            <p:cNvPicPr/>
            <p:nvPr/>
          </p:nvPicPr>
          <p:blipFill>
            <a:blip r:embed="rId2" cstate="print"/>
            <a:stretch>
              <a:fillRect/>
            </a:stretch>
          </p:blipFill>
          <p:spPr>
            <a:xfrm>
              <a:off x="493776" y="582168"/>
              <a:ext cx="970788" cy="950976"/>
            </a:xfrm>
            <a:prstGeom prst="rect">
              <a:avLst/>
            </a:prstGeom>
          </p:spPr>
        </p:pic>
      </p:grpSp>
      <p:sp>
        <p:nvSpPr>
          <p:cNvPr id="16" name="CuadroTexto 15">
            <a:extLst>
              <a:ext uri="{FF2B5EF4-FFF2-40B4-BE49-F238E27FC236}">
                <a16:creationId xmlns:a16="http://schemas.microsoft.com/office/drawing/2014/main" id="{5649559F-83CC-0949-EA9C-4C14111F07F6}"/>
              </a:ext>
            </a:extLst>
          </p:cNvPr>
          <p:cNvSpPr txBox="1"/>
          <p:nvPr/>
        </p:nvSpPr>
        <p:spPr>
          <a:xfrm>
            <a:off x="3246530" y="228600"/>
            <a:ext cx="8412070" cy="707886"/>
          </a:xfrm>
          <a:prstGeom prst="rect">
            <a:avLst/>
          </a:prstGeom>
          <a:noFill/>
        </p:spPr>
        <p:txBody>
          <a:bodyPr wrap="square">
            <a:spAutoFit/>
          </a:bodyPr>
          <a:lstStyle/>
          <a:p>
            <a:r>
              <a:rPr lang="en-US" sz="4000" b="1" kern="0" dirty="0">
                <a:solidFill>
                  <a:schemeClr val="bg1"/>
                </a:solidFill>
              </a:rPr>
              <a:t>Primer regalo IEEE Day</a:t>
            </a:r>
          </a:p>
        </p:txBody>
      </p:sp>
      <p:sp>
        <p:nvSpPr>
          <p:cNvPr id="7" name="CuadroTexto 6">
            <a:extLst>
              <a:ext uri="{FF2B5EF4-FFF2-40B4-BE49-F238E27FC236}">
                <a16:creationId xmlns:a16="http://schemas.microsoft.com/office/drawing/2014/main" id="{7CC1C9F5-9E14-5B19-22BE-B55AAB28C599}"/>
              </a:ext>
            </a:extLst>
          </p:cNvPr>
          <p:cNvSpPr txBox="1"/>
          <p:nvPr/>
        </p:nvSpPr>
        <p:spPr>
          <a:xfrm>
            <a:off x="381000" y="2620137"/>
            <a:ext cx="6029706" cy="1323439"/>
          </a:xfrm>
          <a:prstGeom prst="rect">
            <a:avLst/>
          </a:prstGeom>
          <a:noFill/>
        </p:spPr>
        <p:txBody>
          <a:bodyPr wrap="square">
            <a:spAutoFit/>
          </a:bodyPr>
          <a:lstStyle/>
          <a:p>
            <a:r>
              <a:rPr lang="en-US" sz="4000" b="1" kern="0" dirty="0">
                <a:solidFill>
                  <a:schemeClr val="bg1"/>
                </a:solidFill>
              </a:rPr>
              <a:t>4 </a:t>
            </a:r>
            <a:r>
              <a:rPr lang="en-US" sz="4000" b="1" kern="0" dirty="0" err="1">
                <a:solidFill>
                  <a:schemeClr val="bg1"/>
                </a:solidFill>
              </a:rPr>
              <a:t>Octubre</a:t>
            </a:r>
            <a:br>
              <a:rPr lang="en-US" sz="4000" b="1" kern="0" dirty="0">
                <a:solidFill>
                  <a:schemeClr val="bg1"/>
                </a:solidFill>
              </a:rPr>
            </a:br>
            <a:endParaRPr lang="en-US" sz="4000" b="1" kern="0" dirty="0">
              <a:solidFill>
                <a:schemeClr val="bg1"/>
              </a:solidFill>
            </a:endParaRPr>
          </a:p>
        </p:txBody>
      </p:sp>
      <p:pic>
        <p:nvPicPr>
          <p:cNvPr id="2" name="object 2">
            <a:extLst>
              <a:ext uri="{FF2B5EF4-FFF2-40B4-BE49-F238E27FC236}">
                <a16:creationId xmlns:a16="http://schemas.microsoft.com/office/drawing/2014/main" id="{5196684B-FAF1-57EA-CFBB-078A99589EDB}"/>
              </a:ext>
            </a:extLst>
          </p:cNvPr>
          <p:cNvPicPr/>
          <p:nvPr/>
        </p:nvPicPr>
        <p:blipFill rotWithShape="1">
          <a:blip r:embed="rId3" cstate="print"/>
          <a:srcRect b="34586"/>
          <a:stretch/>
        </p:blipFill>
        <p:spPr>
          <a:xfrm>
            <a:off x="182585" y="4501810"/>
            <a:ext cx="3365832" cy="1136902"/>
          </a:xfrm>
          <a:prstGeom prst="rect">
            <a:avLst/>
          </a:prstGeom>
        </p:spPr>
      </p:pic>
      <p:pic>
        <p:nvPicPr>
          <p:cNvPr id="8" name="Google Shape;214;p25">
            <a:extLst>
              <a:ext uri="{FF2B5EF4-FFF2-40B4-BE49-F238E27FC236}">
                <a16:creationId xmlns:a16="http://schemas.microsoft.com/office/drawing/2014/main" id="{2E4E7975-7E1B-45F8-D78C-02798863C3D2}"/>
              </a:ext>
            </a:extLst>
          </p:cNvPr>
          <p:cNvPicPr preferRelativeResize="0"/>
          <p:nvPr/>
        </p:nvPicPr>
        <p:blipFill rotWithShape="1">
          <a:blip r:embed="rId4">
            <a:alphaModFix/>
          </a:blip>
          <a:srcRect l="5562" r="5571"/>
          <a:stretch/>
        </p:blipFill>
        <p:spPr>
          <a:xfrm>
            <a:off x="3962400" y="990600"/>
            <a:ext cx="8034725" cy="5411369"/>
          </a:xfrm>
          <a:prstGeom prst="rect">
            <a:avLst/>
          </a:prstGeom>
          <a:noFill/>
          <a:ln>
            <a:noFill/>
          </a:ln>
        </p:spPr>
      </p:pic>
    </p:spTree>
    <p:extLst>
      <p:ext uri="{BB962C8B-B14F-4D97-AF65-F5344CB8AC3E}">
        <p14:creationId xmlns:p14="http://schemas.microsoft.com/office/powerpoint/2010/main" val="1403579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547B0AD7-6848-4CF8-B64E-377F91B2C9C7}"/>
              </a:ext>
            </a:extLst>
          </p:cNvPr>
          <p:cNvPicPr>
            <a:picLocks noChangeAspect="1"/>
          </p:cNvPicPr>
          <p:nvPr/>
        </p:nvPicPr>
        <p:blipFill rotWithShape="1">
          <a:blip r:embed="rId2">
            <a:extLst>
              <a:ext uri="{28A0092B-C50C-407E-A947-70E740481C1C}">
                <a14:useLocalDpi xmlns:a14="http://schemas.microsoft.com/office/drawing/2010/main" val="0"/>
              </a:ext>
            </a:extLst>
          </a:blip>
          <a:srcRect b="15197"/>
          <a:stretch/>
        </p:blipFill>
        <p:spPr>
          <a:xfrm>
            <a:off x="8263631" y="3277398"/>
            <a:ext cx="2988490" cy="3594779"/>
          </a:xfrm>
          <a:prstGeom prst="rect">
            <a:avLst/>
          </a:prstGeom>
        </p:spPr>
      </p:pic>
      <p:sp>
        <p:nvSpPr>
          <p:cNvPr id="21" name="Freeform 3">
            <a:extLst>
              <a:ext uri="{FF2B5EF4-FFF2-40B4-BE49-F238E27FC236}">
                <a16:creationId xmlns:a16="http://schemas.microsoft.com/office/drawing/2014/main" id="{F6429F11-64E2-4420-9B0C-F3F81BF0D15B}"/>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tx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4">
            <a:extLst>
              <a:ext uri="{FF2B5EF4-FFF2-40B4-BE49-F238E27FC236}">
                <a16:creationId xmlns:a16="http://schemas.microsoft.com/office/drawing/2014/main" id="{62785A07-F203-435E-8E76-BB97680C2FC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ítulo 1">
            <a:extLst>
              <a:ext uri="{FF2B5EF4-FFF2-40B4-BE49-F238E27FC236}">
                <a16:creationId xmlns:a16="http://schemas.microsoft.com/office/drawing/2014/main" id="{DFEFCCC7-2259-4FBB-8B45-0FA6C060CC6E}"/>
              </a:ext>
            </a:extLst>
          </p:cNvPr>
          <p:cNvSpPr>
            <a:spLocks noGrp="1"/>
          </p:cNvSpPr>
          <p:nvPr>
            <p:ph type="ctrTitle"/>
          </p:nvPr>
        </p:nvSpPr>
        <p:spPr>
          <a:xfrm>
            <a:off x="1106852" y="2761817"/>
            <a:ext cx="4656173" cy="3757920"/>
          </a:xfrm>
        </p:spPr>
        <p:txBody>
          <a:bodyPr anchor="t">
            <a:noAutofit/>
          </a:bodyPr>
          <a:lstStyle/>
          <a:p>
            <a:pPr algn="l"/>
            <a:r>
              <a:rPr lang="es-ES" sz="4800" b="1" dirty="0">
                <a:solidFill>
                  <a:schemeClr val="accent5">
                    <a:lumMod val="75000"/>
                  </a:schemeClr>
                </a:solidFill>
              </a:rPr>
              <a:t>A</a:t>
            </a:r>
            <a:r>
              <a:rPr lang="es-ES" sz="4000" dirty="0">
                <a:solidFill>
                  <a:schemeClr val="bg1"/>
                </a:solidFill>
              </a:rPr>
              <a:t>sociación </a:t>
            </a:r>
            <a:r>
              <a:rPr lang="es-ES" sz="4800" b="1" dirty="0">
                <a:solidFill>
                  <a:schemeClr val="accent5">
                    <a:lumMod val="75000"/>
                  </a:schemeClr>
                </a:solidFill>
              </a:rPr>
              <a:t>M</a:t>
            </a:r>
            <a:r>
              <a:rPr lang="es-ES" sz="4000" dirty="0">
                <a:solidFill>
                  <a:schemeClr val="bg1"/>
                </a:solidFill>
              </a:rPr>
              <a:t>adrileña de</a:t>
            </a:r>
            <a:br>
              <a:rPr lang="es-ES" sz="4000" dirty="0">
                <a:solidFill>
                  <a:schemeClr val="bg1"/>
                </a:solidFill>
              </a:rPr>
            </a:br>
            <a:r>
              <a:rPr lang="es-ES" sz="4800" b="1" dirty="0">
                <a:solidFill>
                  <a:schemeClr val="accent5">
                    <a:lumMod val="75000"/>
                  </a:schemeClr>
                </a:solidFill>
              </a:rPr>
              <a:t>G</a:t>
            </a:r>
            <a:r>
              <a:rPr lang="es-ES" sz="4000" dirty="0">
                <a:solidFill>
                  <a:schemeClr val="bg1"/>
                </a:solidFill>
              </a:rPr>
              <a:t>raduados e </a:t>
            </a:r>
            <a:br>
              <a:rPr lang="es-ES" sz="4000" dirty="0">
                <a:solidFill>
                  <a:schemeClr val="bg1"/>
                </a:solidFill>
              </a:rPr>
            </a:br>
            <a:r>
              <a:rPr lang="es-ES" sz="4800" b="1" dirty="0">
                <a:solidFill>
                  <a:schemeClr val="accent5">
                    <a:lumMod val="75000"/>
                  </a:schemeClr>
                </a:solidFill>
              </a:rPr>
              <a:t>I</a:t>
            </a:r>
            <a:r>
              <a:rPr lang="es-ES" sz="4000" dirty="0">
                <a:solidFill>
                  <a:schemeClr val="bg1"/>
                </a:solidFill>
              </a:rPr>
              <a:t>ngenieros </a:t>
            </a:r>
            <a:br>
              <a:rPr lang="es-ES" sz="4000" dirty="0">
                <a:solidFill>
                  <a:schemeClr val="bg1"/>
                </a:solidFill>
              </a:rPr>
            </a:br>
            <a:r>
              <a:rPr lang="es-ES" sz="4800" b="1" dirty="0">
                <a:solidFill>
                  <a:schemeClr val="accent5">
                    <a:lumMod val="75000"/>
                  </a:schemeClr>
                </a:solidFill>
              </a:rPr>
              <a:t>T</a:t>
            </a:r>
            <a:r>
              <a:rPr lang="es-ES" sz="4000" dirty="0">
                <a:solidFill>
                  <a:schemeClr val="bg1"/>
                </a:solidFill>
              </a:rPr>
              <a:t>écnicos de </a:t>
            </a:r>
            <a:r>
              <a:rPr lang="es-ES" sz="4800" b="1" dirty="0">
                <a:solidFill>
                  <a:schemeClr val="accent5">
                    <a:lumMod val="75000"/>
                  </a:schemeClr>
                </a:solidFill>
              </a:rPr>
              <a:t>T</a:t>
            </a:r>
            <a:r>
              <a:rPr lang="es-ES" sz="4000" dirty="0">
                <a:solidFill>
                  <a:schemeClr val="bg1"/>
                </a:solidFill>
              </a:rPr>
              <a:t>elecomunicaciones</a:t>
            </a:r>
            <a:br>
              <a:rPr lang="es-ES" sz="6600" dirty="0">
                <a:solidFill>
                  <a:schemeClr val="bg1"/>
                </a:solidFill>
              </a:rPr>
            </a:br>
            <a:endParaRPr lang="es-ES" sz="6600" dirty="0">
              <a:solidFill>
                <a:schemeClr val="bg1"/>
              </a:solidFill>
            </a:endParaRPr>
          </a:p>
        </p:txBody>
      </p:sp>
      <p:sp>
        <p:nvSpPr>
          <p:cNvPr id="8" name="Título 1">
            <a:extLst>
              <a:ext uri="{FF2B5EF4-FFF2-40B4-BE49-F238E27FC236}">
                <a16:creationId xmlns:a16="http://schemas.microsoft.com/office/drawing/2014/main" id="{B46EFE52-1B07-4F11-9315-F8A7C70F7AC3}"/>
              </a:ext>
            </a:extLst>
          </p:cNvPr>
          <p:cNvSpPr txBox="1">
            <a:spLocks/>
          </p:cNvSpPr>
          <p:nvPr/>
        </p:nvSpPr>
        <p:spPr>
          <a:xfrm>
            <a:off x="506945" y="457200"/>
            <a:ext cx="6248400" cy="1150424"/>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s-ES" sz="13800" b="1" i="1" dirty="0" err="1">
                <a:solidFill>
                  <a:schemeClr val="accent1">
                    <a:lumMod val="75000"/>
                  </a:schemeClr>
                </a:solidFill>
                <a:effectLst>
                  <a:outerShdw blurRad="38100" dist="38100" dir="2700000" algn="tl">
                    <a:srgbClr val="000000">
                      <a:alpha val="43137"/>
                    </a:srgbClr>
                  </a:outerShdw>
                </a:effectLst>
              </a:rPr>
              <a:t>AMGITT</a:t>
            </a:r>
            <a:endParaRPr lang="es-ES" sz="9600" b="1" i="1" dirty="0">
              <a:solidFill>
                <a:schemeClr val="accent1">
                  <a:lumMod val="75000"/>
                </a:schemeClr>
              </a:solidFill>
              <a:effectLst>
                <a:outerShdw blurRad="38100" dist="38100" dir="2700000" algn="tl">
                  <a:srgbClr val="000000">
                    <a:alpha val="43137"/>
                  </a:srgbClr>
                </a:outerShdw>
              </a:effectLst>
            </a:endParaRPr>
          </a:p>
        </p:txBody>
      </p:sp>
      <p:pic>
        <p:nvPicPr>
          <p:cNvPr id="4" name="Imagen 3" descr="Esquemático&#10;&#10;Descripción generada automáticamente con confianza baja">
            <a:extLst>
              <a:ext uri="{FF2B5EF4-FFF2-40B4-BE49-F238E27FC236}">
                <a16:creationId xmlns:a16="http://schemas.microsoft.com/office/drawing/2014/main" id="{7F332B13-9536-5B36-F28D-3940AE91C5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7664" y="457200"/>
            <a:ext cx="3738156" cy="2590800"/>
          </a:xfrm>
          <a:prstGeom prst="rect">
            <a:avLst/>
          </a:prstGeom>
        </p:spPr>
      </p:pic>
    </p:spTree>
    <p:extLst>
      <p:ext uri="{BB962C8B-B14F-4D97-AF65-F5344CB8AC3E}">
        <p14:creationId xmlns:p14="http://schemas.microsoft.com/office/powerpoint/2010/main" val="20030740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3">
            <a:extLst>
              <a:ext uri="{FF2B5EF4-FFF2-40B4-BE49-F238E27FC236}">
                <a16:creationId xmlns:a16="http://schemas.microsoft.com/office/drawing/2014/main" id="{F6429F11-64E2-4420-9B0C-F3F81BF0D15B}"/>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tx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4">
            <a:extLst>
              <a:ext uri="{FF2B5EF4-FFF2-40B4-BE49-F238E27FC236}">
                <a16:creationId xmlns:a16="http://schemas.microsoft.com/office/drawing/2014/main" id="{62785A07-F203-435E-8E76-BB97680C2FC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Title 4">
            <a:extLst>
              <a:ext uri="{FF2B5EF4-FFF2-40B4-BE49-F238E27FC236}">
                <a16:creationId xmlns:a16="http://schemas.microsoft.com/office/drawing/2014/main" id="{6652F5BE-FB82-4040-C591-4F17EF8A5744}"/>
              </a:ext>
            </a:extLst>
          </p:cNvPr>
          <p:cNvSpPr>
            <a:spLocks noGrp="1"/>
          </p:cNvSpPr>
          <p:nvPr>
            <p:ph type="ctrTitle"/>
          </p:nvPr>
        </p:nvSpPr>
        <p:spPr/>
        <p:txBody>
          <a:bodyPr/>
          <a:lstStyle/>
          <a:p>
            <a:endParaRPr lang="es-ES"/>
          </a:p>
        </p:txBody>
      </p:sp>
      <p:pic>
        <p:nvPicPr>
          <p:cNvPr id="11" name="Picture 10" descr="A group of people sitting in chairs in a room&#10;&#10;Description automatically generated">
            <a:extLst>
              <a:ext uri="{FF2B5EF4-FFF2-40B4-BE49-F238E27FC236}">
                <a16:creationId xmlns:a16="http://schemas.microsoft.com/office/drawing/2014/main" id="{48947DEC-0E4D-F6A4-018F-369135E793D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500" y="-635000"/>
            <a:ext cx="11239500" cy="7493000"/>
          </a:xfrm>
          <a:prstGeom prst="rect">
            <a:avLst/>
          </a:prstGeom>
        </p:spPr>
      </p:pic>
    </p:spTree>
    <p:extLst>
      <p:ext uri="{BB962C8B-B14F-4D97-AF65-F5344CB8AC3E}">
        <p14:creationId xmlns:p14="http://schemas.microsoft.com/office/powerpoint/2010/main" val="26142300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3">
            <a:extLst>
              <a:ext uri="{FF2B5EF4-FFF2-40B4-BE49-F238E27FC236}">
                <a16:creationId xmlns:a16="http://schemas.microsoft.com/office/drawing/2014/main" id="{F6429F11-64E2-4420-9B0C-F3F81BF0D15B}"/>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tx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4">
            <a:extLst>
              <a:ext uri="{FF2B5EF4-FFF2-40B4-BE49-F238E27FC236}">
                <a16:creationId xmlns:a16="http://schemas.microsoft.com/office/drawing/2014/main" id="{62785A07-F203-435E-8E76-BB97680C2FC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Title 4">
            <a:extLst>
              <a:ext uri="{FF2B5EF4-FFF2-40B4-BE49-F238E27FC236}">
                <a16:creationId xmlns:a16="http://schemas.microsoft.com/office/drawing/2014/main" id="{6652F5BE-FB82-4040-C591-4F17EF8A5744}"/>
              </a:ext>
            </a:extLst>
          </p:cNvPr>
          <p:cNvSpPr>
            <a:spLocks noGrp="1"/>
          </p:cNvSpPr>
          <p:nvPr>
            <p:ph type="ctrTitle"/>
          </p:nvPr>
        </p:nvSpPr>
        <p:spPr/>
        <p:txBody>
          <a:bodyPr/>
          <a:lstStyle/>
          <a:p>
            <a:endParaRPr lang="es-ES"/>
          </a:p>
        </p:txBody>
      </p:sp>
      <p:pic>
        <p:nvPicPr>
          <p:cNvPr id="7" name="Picture 6" descr="A group of people posing for a photo&#10;&#10;Description automatically generated">
            <a:extLst>
              <a:ext uri="{FF2B5EF4-FFF2-40B4-BE49-F238E27FC236}">
                <a16:creationId xmlns:a16="http://schemas.microsoft.com/office/drawing/2014/main" id="{5A7291D6-457E-1BFE-D214-9BD52EED0C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6057" y="0"/>
            <a:ext cx="13324112" cy="6857999"/>
          </a:xfrm>
          <a:prstGeom prst="rect">
            <a:avLst/>
          </a:prstGeom>
        </p:spPr>
      </p:pic>
    </p:spTree>
    <p:extLst>
      <p:ext uri="{BB962C8B-B14F-4D97-AF65-F5344CB8AC3E}">
        <p14:creationId xmlns:p14="http://schemas.microsoft.com/office/powerpoint/2010/main" val="1298190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94" name="Rectangle 3093">
            <a:extLst>
              <a:ext uri="{FF2B5EF4-FFF2-40B4-BE49-F238E27FC236}">
                <a16:creationId xmlns:a16="http://schemas.microsoft.com/office/drawing/2014/main" id="{27BDFED6-6E33-4606-AFE2-886ADB1C01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78" name="Picture 6" descr="Universidad Politécnica de Madrid">
            <a:extLst>
              <a:ext uri="{FF2B5EF4-FFF2-40B4-BE49-F238E27FC236}">
                <a16:creationId xmlns:a16="http://schemas.microsoft.com/office/drawing/2014/main" id="{0640DAE8-70DD-DF1F-72EC-9A28B4B6F36F}"/>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r="14325" b="-1"/>
          <a:stretch/>
        </p:blipFill>
        <p:spPr bwMode="auto">
          <a:xfrm>
            <a:off x="4547937" y="-5"/>
            <a:ext cx="7644062" cy="36814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Universidad Politécnica de Madrid">
            <a:extLst>
              <a:ext uri="{FF2B5EF4-FFF2-40B4-BE49-F238E27FC236}">
                <a16:creationId xmlns:a16="http://schemas.microsoft.com/office/drawing/2014/main" id="{4A815DE8-84E9-6944-9620-7AB83D5644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5072" r="-1" b="9649"/>
          <a:stretch/>
        </p:blipFill>
        <p:spPr bwMode="auto">
          <a:xfrm>
            <a:off x="4547938" y="3681409"/>
            <a:ext cx="7644062" cy="3176595"/>
          </a:xfrm>
          <a:prstGeom prst="rect">
            <a:avLst/>
          </a:prstGeom>
          <a:noFill/>
          <a:extLst>
            <a:ext uri="{909E8E84-426E-40DD-AFC4-6F175D3DCCD1}">
              <a14:hiddenFill xmlns:a14="http://schemas.microsoft.com/office/drawing/2010/main">
                <a:solidFill>
                  <a:srgbClr val="FFFFFF"/>
                </a:solidFill>
              </a14:hiddenFill>
            </a:ext>
          </a:extLst>
        </p:spPr>
      </p:pic>
      <p:sp>
        <p:nvSpPr>
          <p:cNvPr id="3096" name="Rectangle 3095">
            <a:extLst>
              <a:ext uri="{FF2B5EF4-FFF2-40B4-BE49-F238E27FC236}">
                <a16:creationId xmlns:a16="http://schemas.microsoft.com/office/drawing/2014/main" id="{890DEF05-784E-4B61-89E4-04C4ECF4E5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36000">
                <a:schemeClr val="tx1">
                  <a:lumMod val="95000"/>
                  <a:lumOff val="5000"/>
                </a:schemeClr>
              </a:gs>
              <a:gs pos="81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ítulo 1">
            <a:extLst>
              <a:ext uri="{FF2B5EF4-FFF2-40B4-BE49-F238E27FC236}">
                <a16:creationId xmlns:a16="http://schemas.microsoft.com/office/drawing/2014/main" id="{B46EFE52-1B07-4F11-9315-F8A7C70F7AC3}"/>
              </a:ext>
            </a:extLst>
          </p:cNvPr>
          <p:cNvSpPr txBox="1">
            <a:spLocks/>
          </p:cNvSpPr>
          <p:nvPr/>
        </p:nvSpPr>
        <p:spPr>
          <a:xfrm>
            <a:off x="838200" y="1115219"/>
            <a:ext cx="5395912" cy="23876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600"/>
              </a:spcAft>
            </a:pPr>
            <a:r>
              <a:rPr lang="en-US" sz="5000" b="1" i="1" kern="1200">
                <a:solidFill>
                  <a:schemeClr val="bg1"/>
                </a:solidFill>
                <a:effectLst>
                  <a:outerShdw blurRad="38100" dist="38100" dir="2700000" algn="tl">
                    <a:srgbClr val="000000">
                      <a:alpha val="43137"/>
                    </a:srgbClr>
                  </a:outerShdw>
                </a:effectLst>
                <a:latin typeface="+mj-lt"/>
                <a:ea typeface="+mj-ea"/>
                <a:cs typeface="+mj-cs"/>
              </a:rPr>
              <a:t>Alumni ETSIST</a:t>
            </a:r>
          </a:p>
        </p:txBody>
      </p:sp>
      <p:sp>
        <p:nvSpPr>
          <p:cNvPr id="3" name="Subtítulo 2">
            <a:extLst>
              <a:ext uri="{FF2B5EF4-FFF2-40B4-BE49-F238E27FC236}">
                <a16:creationId xmlns:a16="http://schemas.microsoft.com/office/drawing/2014/main" id="{8AADB9FC-FD16-453D-AC00-F348193F9624}"/>
              </a:ext>
            </a:extLst>
          </p:cNvPr>
          <p:cNvSpPr>
            <a:spLocks noGrp="1"/>
          </p:cNvSpPr>
          <p:nvPr>
            <p:ph type="subTitle" idx="1"/>
          </p:nvPr>
        </p:nvSpPr>
        <p:spPr>
          <a:xfrm>
            <a:off x="838200" y="3902075"/>
            <a:ext cx="5395912" cy="1655762"/>
          </a:xfrm>
        </p:spPr>
        <p:txBody>
          <a:bodyPr vert="horz" lIns="91440" tIns="45720" rIns="91440" bIns="45720" rtlCol="0">
            <a:normAutofit/>
          </a:bodyPr>
          <a:lstStyle/>
          <a:p>
            <a:pPr algn="l"/>
            <a:r>
              <a:rPr lang="en-US" sz="2000" kern="1200" dirty="0" err="1">
                <a:solidFill>
                  <a:schemeClr val="bg1"/>
                </a:solidFill>
                <a:latin typeface="+mn-lt"/>
                <a:ea typeface="+mn-ea"/>
                <a:cs typeface="+mn-cs"/>
              </a:rPr>
              <a:t>Asociacion</a:t>
            </a:r>
            <a:r>
              <a:rPr lang="en-US" sz="2000" kern="1200" dirty="0">
                <a:solidFill>
                  <a:schemeClr val="bg1"/>
                </a:solidFill>
                <a:latin typeface="+mn-lt"/>
                <a:ea typeface="+mn-ea"/>
                <a:cs typeface="+mn-cs"/>
              </a:rPr>
              <a:t> de </a:t>
            </a:r>
            <a:r>
              <a:rPr lang="en-US" sz="2000" kern="1200" dirty="0" err="1">
                <a:solidFill>
                  <a:schemeClr val="bg1"/>
                </a:solidFill>
                <a:latin typeface="+mn-lt"/>
                <a:ea typeface="+mn-ea"/>
                <a:cs typeface="+mn-cs"/>
              </a:rPr>
              <a:t>Antiguos</a:t>
            </a:r>
            <a:r>
              <a:rPr lang="en-US" sz="2000" kern="1200" dirty="0">
                <a:solidFill>
                  <a:schemeClr val="bg1"/>
                </a:solidFill>
                <a:latin typeface="+mn-lt"/>
                <a:ea typeface="+mn-ea"/>
                <a:cs typeface="+mn-cs"/>
              </a:rPr>
              <a:t> </a:t>
            </a:r>
            <a:r>
              <a:rPr lang="en-US" sz="2000" kern="1200" dirty="0" err="1">
                <a:solidFill>
                  <a:schemeClr val="bg1"/>
                </a:solidFill>
                <a:latin typeface="+mn-lt"/>
                <a:ea typeface="+mn-ea"/>
                <a:cs typeface="+mn-cs"/>
              </a:rPr>
              <a:t>Alumnos</a:t>
            </a:r>
            <a:endParaRPr lang="en-US" sz="2000" kern="1200" dirty="0">
              <a:solidFill>
                <a:schemeClr val="bg1"/>
              </a:solidFill>
              <a:latin typeface="+mn-lt"/>
              <a:ea typeface="+mn-ea"/>
              <a:cs typeface="+mn-cs"/>
            </a:endParaRPr>
          </a:p>
        </p:txBody>
      </p:sp>
      <p:cxnSp>
        <p:nvCxnSpPr>
          <p:cNvPr id="3098" name="Straight Connector 3097">
            <a:extLst>
              <a:ext uri="{FF2B5EF4-FFF2-40B4-BE49-F238E27FC236}">
                <a16:creationId xmlns:a16="http://schemas.microsoft.com/office/drawing/2014/main" id="{C41BAEC7-F7B0-4224-8B18-8F74B7D87F0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3681408"/>
            <a:ext cx="113537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Subtítulo 2">
            <a:extLst>
              <a:ext uri="{FF2B5EF4-FFF2-40B4-BE49-F238E27FC236}">
                <a16:creationId xmlns:a16="http://schemas.microsoft.com/office/drawing/2014/main" id="{925D27D7-B04F-39E5-11AD-572C4AFB2C35}"/>
              </a:ext>
            </a:extLst>
          </p:cNvPr>
          <p:cNvSpPr txBox="1">
            <a:spLocks/>
          </p:cNvSpPr>
          <p:nvPr/>
        </p:nvSpPr>
        <p:spPr>
          <a:xfrm>
            <a:off x="845574" y="4914900"/>
            <a:ext cx="6012426"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4800" dirty="0">
                <a:solidFill>
                  <a:schemeClr val="bg1"/>
                </a:solidFill>
              </a:rPr>
              <a:t>MENTORIZACIÓN</a:t>
            </a:r>
            <a:br>
              <a:rPr lang="en-US" sz="4800" dirty="0">
                <a:solidFill>
                  <a:schemeClr val="bg1"/>
                </a:solidFill>
              </a:rPr>
            </a:br>
            <a:r>
              <a:rPr lang="en-US" sz="4800" dirty="0">
                <a:solidFill>
                  <a:schemeClr val="bg1"/>
                </a:solidFill>
              </a:rPr>
              <a:t>La </a:t>
            </a:r>
            <a:r>
              <a:rPr lang="en-US" sz="4800" dirty="0" err="1">
                <a:solidFill>
                  <a:schemeClr val="bg1"/>
                </a:solidFill>
              </a:rPr>
              <a:t>voz</a:t>
            </a:r>
            <a:r>
              <a:rPr lang="en-US" sz="4800" dirty="0">
                <a:solidFill>
                  <a:schemeClr val="bg1"/>
                </a:solidFill>
              </a:rPr>
              <a:t> de la </a:t>
            </a:r>
            <a:r>
              <a:rPr lang="en-US" sz="4800" dirty="0" err="1">
                <a:solidFill>
                  <a:schemeClr val="bg1"/>
                </a:solidFill>
              </a:rPr>
              <a:t>experiencia</a:t>
            </a:r>
            <a:endParaRPr lang="en-US" sz="4800" dirty="0">
              <a:solidFill>
                <a:schemeClr val="bg1"/>
              </a:solidFill>
            </a:endParaRPr>
          </a:p>
        </p:txBody>
      </p:sp>
    </p:spTree>
    <p:extLst>
      <p:ext uri="{BB962C8B-B14F-4D97-AF65-F5344CB8AC3E}">
        <p14:creationId xmlns:p14="http://schemas.microsoft.com/office/powerpoint/2010/main" val="11015952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object 3"/>
          <p:cNvGrpSpPr/>
          <p:nvPr/>
        </p:nvGrpSpPr>
        <p:grpSpPr>
          <a:xfrm>
            <a:off x="712381" y="505454"/>
            <a:ext cx="1366520" cy="1339215"/>
            <a:chOff x="311150" y="373634"/>
            <a:chExt cx="1366520" cy="1339215"/>
          </a:xfrm>
        </p:grpSpPr>
        <p:sp>
          <p:nvSpPr>
            <p:cNvPr id="4" name="object 4"/>
            <p:cNvSpPr/>
            <p:nvPr/>
          </p:nvSpPr>
          <p:spPr>
            <a:xfrm>
              <a:off x="323850" y="386334"/>
              <a:ext cx="1341120" cy="1313815"/>
            </a:xfrm>
            <a:custGeom>
              <a:avLst/>
              <a:gdLst/>
              <a:ahLst/>
              <a:cxnLst/>
              <a:rect l="l" t="t" r="r" b="b"/>
              <a:pathLst>
                <a:path w="1341120" h="1313814">
                  <a:moveTo>
                    <a:pt x="670560" y="0"/>
                  </a:moveTo>
                  <a:lnTo>
                    <a:pt x="622670" y="1649"/>
                  </a:lnTo>
                  <a:lnTo>
                    <a:pt x="575690" y="6523"/>
                  </a:lnTo>
                  <a:lnTo>
                    <a:pt x="529732" y="14511"/>
                  </a:lnTo>
                  <a:lnTo>
                    <a:pt x="484910" y="25502"/>
                  </a:lnTo>
                  <a:lnTo>
                    <a:pt x="441337" y="39383"/>
                  </a:lnTo>
                  <a:lnTo>
                    <a:pt x="399127" y="56045"/>
                  </a:lnTo>
                  <a:lnTo>
                    <a:pt x="358393" y="75375"/>
                  </a:lnTo>
                  <a:lnTo>
                    <a:pt x="319249" y="97263"/>
                  </a:lnTo>
                  <a:lnTo>
                    <a:pt x="281807" y="121597"/>
                  </a:lnTo>
                  <a:lnTo>
                    <a:pt x="246183" y="148266"/>
                  </a:lnTo>
                  <a:lnTo>
                    <a:pt x="212488" y="177159"/>
                  </a:lnTo>
                  <a:lnTo>
                    <a:pt x="180837" y="208164"/>
                  </a:lnTo>
                  <a:lnTo>
                    <a:pt x="151343" y="241171"/>
                  </a:lnTo>
                  <a:lnTo>
                    <a:pt x="124120" y="276068"/>
                  </a:lnTo>
                  <a:lnTo>
                    <a:pt x="99280" y="312744"/>
                  </a:lnTo>
                  <a:lnTo>
                    <a:pt x="76938" y="351087"/>
                  </a:lnTo>
                  <a:lnTo>
                    <a:pt x="57206" y="390987"/>
                  </a:lnTo>
                  <a:lnTo>
                    <a:pt x="40199" y="432333"/>
                  </a:lnTo>
                  <a:lnTo>
                    <a:pt x="26030" y="475012"/>
                  </a:lnTo>
                  <a:lnTo>
                    <a:pt x="14812" y="518914"/>
                  </a:lnTo>
                  <a:lnTo>
                    <a:pt x="6658" y="563927"/>
                  </a:lnTo>
                  <a:lnTo>
                    <a:pt x="1683" y="609941"/>
                  </a:lnTo>
                  <a:lnTo>
                    <a:pt x="0" y="656843"/>
                  </a:lnTo>
                  <a:lnTo>
                    <a:pt x="1683" y="703746"/>
                  </a:lnTo>
                  <a:lnTo>
                    <a:pt x="6658" y="749760"/>
                  </a:lnTo>
                  <a:lnTo>
                    <a:pt x="14812" y="794773"/>
                  </a:lnTo>
                  <a:lnTo>
                    <a:pt x="26030" y="838675"/>
                  </a:lnTo>
                  <a:lnTo>
                    <a:pt x="40199" y="881354"/>
                  </a:lnTo>
                  <a:lnTo>
                    <a:pt x="57206" y="922700"/>
                  </a:lnTo>
                  <a:lnTo>
                    <a:pt x="76938" y="962600"/>
                  </a:lnTo>
                  <a:lnTo>
                    <a:pt x="99280" y="1000943"/>
                  </a:lnTo>
                  <a:lnTo>
                    <a:pt x="124120" y="1037619"/>
                  </a:lnTo>
                  <a:lnTo>
                    <a:pt x="151343" y="1072516"/>
                  </a:lnTo>
                  <a:lnTo>
                    <a:pt x="180837" y="1105523"/>
                  </a:lnTo>
                  <a:lnTo>
                    <a:pt x="212488" y="1136528"/>
                  </a:lnTo>
                  <a:lnTo>
                    <a:pt x="246183" y="1165421"/>
                  </a:lnTo>
                  <a:lnTo>
                    <a:pt x="281807" y="1192090"/>
                  </a:lnTo>
                  <a:lnTo>
                    <a:pt x="319249" y="1216424"/>
                  </a:lnTo>
                  <a:lnTo>
                    <a:pt x="358393" y="1238312"/>
                  </a:lnTo>
                  <a:lnTo>
                    <a:pt x="399127" y="1257642"/>
                  </a:lnTo>
                  <a:lnTo>
                    <a:pt x="441337" y="1274304"/>
                  </a:lnTo>
                  <a:lnTo>
                    <a:pt x="484910" y="1288185"/>
                  </a:lnTo>
                  <a:lnTo>
                    <a:pt x="529732" y="1299176"/>
                  </a:lnTo>
                  <a:lnTo>
                    <a:pt x="575690" y="1307164"/>
                  </a:lnTo>
                  <a:lnTo>
                    <a:pt x="622670" y="1312038"/>
                  </a:lnTo>
                  <a:lnTo>
                    <a:pt x="670560" y="1313688"/>
                  </a:lnTo>
                  <a:lnTo>
                    <a:pt x="718447" y="1312038"/>
                  </a:lnTo>
                  <a:lnTo>
                    <a:pt x="765426" y="1307164"/>
                  </a:lnTo>
                  <a:lnTo>
                    <a:pt x="811383" y="1299176"/>
                  </a:lnTo>
                  <a:lnTo>
                    <a:pt x="856205" y="1288185"/>
                  </a:lnTo>
                  <a:lnTo>
                    <a:pt x="899777" y="1274304"/>
                  </a:lnTo>
                  <a:lnTo>
                    <a:pt x="941987" y="1257642"/>
                  </a:lnTo>
                  <a:lnTo>
                    <a:pt x="982721" y="1238312"/>
                  </a:lnTo>
                  <a:lnTo>
                    <a:pt x="1021865" y="1216424"/>
                  </a:lnTo>
                  <a:lnTo>
                    <a:pt x="1059306" y="1192090"/>
                  </a:lnTo>
                  <a:lnTo>
                    <a:pt x="1094931" y="1165421"/>
                  </a:lnTo>
                  <a:lnTo>
                    <a:pt x="1128626" y="1136528"/>
                  </a:lnTo>
                  <a:lnTo>
                    <a:pt x="1160277" y="1105523"/>
                  </a:lnTo>
                  <a:lnTo>
                    <a:pt x="1189772" y="1072516"/>
                  </a:lnTo>
                  <a:lnTo>
                    <a:pt x="1216996" y="1037619"/>
                  </a:lnTo>
                  <a:lnTo>
                    <a:pt x="1241836" y="1000943"/>
                  </a:lnTo>
                  <a:lnTo>
                    <a:pt x="1264179" y="962600"/>
                  </a:lnTo>
                  <a:lnTo>
                    <a:pt x="1283911" y="922700"/>
                  </a:lnTo>
                  <a:lnTo>
                    <a:pt x="1300918" y="881354"/>
                  </a:lnTo>
                  <a:lnTo>
                    <a:pt x="1315088" y="838675"/>
                  </a:lnTo>
                  <a:lnTo>
                    <a:pt x="1326307" y="794773"/>
                  </a:lnTo>
                  <a:lnTo>
                    <a:pt x="1334460" y="749760"/>
                  </a:lnTo>
                  <a:lnTo>
                    <a:pt x="1339436" y="703746"/>
                  </a:lnTo>
                  <a:lnTo>
                    <a:pt x="1341120" y="656843"/>
                  </a:lnTo>
                  <a:lnTo>
                    <a:pt x="1339436" y="609941"/>
                  </a:lnTo>
                  <a:lnTo>
                    <a:pt x="1334460" y="563927"/>
                  </a:lnTo>
                  <a:lnTo>
                    <a:pt x="1326307" y="518914"/>
                  </a:lnTo>
                  <a:lnTo>
                    <a:pt x="1315088" y="475012"/>
                  </a:lnTo>
                  <a:lnTo>
                    <a:pt x="1300918" y="432333"/>
                  </a:lnTo>
                  <a:lnTo>
                    <a:pt x="1283911" y="390987"/>
                  </a:lnTo>
                  <a:lnTo>
                    <a:pt x="1264179" y="351087"/>
                  </a:lnTo>
                  <a:lnTo>
                    <a:pt x="1241836" y="312744"/>
                  </a:lnTo>
                  <a:lnTo>
                    <a:pt x="1216996" y="276068"/>
                  </a:lnTo>
                  <a:lnTo>
                    <a:pt x="1189772" y="241171"/>
                  </a:lnTo>
                  <a:lnTo>
                    <a:pt x="1160277" y="208164"/>
                  </a:lnTo>
                  <a:lnTo>
                    <a:pt x="1128626" y="177159"/>
                  </a:lnTo>
                  <a:lnTo>
                    <a:pt x="1094931" y="148266"/>
                  </a:lnTo>
                  <a:lnTo>
                    <a:pt x="1059306" y="121597"/>
                  </a:lnTo>
                  <a:lnTo>
                    <a:pt x="1021865" y="97263"/>
                  </a:lnTo>
                  <a:lnTo>
                    <a:pt x="982721" y="75375"/>
                  </a:lnTo>
                  <a:lnTo>
                    <a:pt x="941987" y="56045"/>
                  </a:lnTo>
                  <a:lnTo>
                    <a:pt x="899777" y="39383"/>
                  </a:lnTo>
                  <a:lnTo>
                    <a:pt x="856205" y="25502"/>
                  </a:lnTo>
                  <a:lnTo>
                    <a:pt x="811383" y="14511"/>
                  </a:lnTo>
                  <a:lnTo>
                    <a:pt x="765426" y="6523"/>
                  </a:lnTo>
                  <a:lnTo>
                    <a:pt x="718447" y="1649"/>
                  </a:lnTo>
                  <a:lnTo>
                    <a:pt x="670560" y="0"/>
                  </a:lnTo>
                  <a:close/>
                </a:path>
              </a:pathLst>
            </a:custGeom>
            <a:solidFill>
              <a:srgbClr val="FFFFFF"/>
            </a:solidFill>
          </p:spPr>
          <p:txBody>
            <a:bodyPr wrap="square" lIns="0" tIns="0" rIns="0" bIns="0" rtlCol="0"/>
            <a:lstStyle/>
            <a:p>
              <a:endParaRPr/>
            </a:p>
          </p:txBody>
        </p:sp>
        <p:sp>
          <p:nvSpPr>
            <p:cNvPr id="5" name="object 5"/>
            <p:cNvSpPr/>
            <p:nvPr/>
          </p:nvSpPr>
          <p:spPr>
            <a:xfrm>
              <a:off x="323850" y="386334"/>
              <a:ext cx="1341120" cy="1313815"/>
            </a:xfrm>
            <a:custGeom>
              <a:avLst/>
              <a:gdLst/>
              <a:ahLst/>
              <a:cxnLst/>
              <a:rect l="l" t="t" r="r" b="b"/>
              <a:pathLst>
                <a:path w="1341120" h="1313814">
                  <a:moveTo>
                    <a:pt x="0" y="656843"/>
                  </a:moveTo>
                  <a:lnTo>
                    <a:pt x="1683" y="609941"/>
                  </a:lnTo>
                  <a:lnTo>
                    <a:pt x="6658" y="563927"/>
                  </a:lnTo>
                  <a:lnTo>
                    <a:pt x="14812" y="518914"/>
                  </a:lnTo>
                  <a:lnTo>
                    <a:pt x="26030" y="475012"/>
                  </a:lnTo>
                  <a:lnTo>
                    <a:pt x="40199" y="432333"/>
                  </a:lnTo>
                  <a:lnTo>
                    <a:pt x="57206" y="390987"/>
                  </a:lnTo>
                  <a:lnTo>
                    <a:pt x="76938" y="351087"/>
                  </a:lnTo>
                  <a:lnTo>
                    <a:pt x="99280" y="312744"/>
                  </a:lnTo>
                  <a:lnTo>
                    <a:pt x="124120" y="276068"/>
                  </a:lnTo>
                  <a:lnTo>
                    <a:pt x="151343" y="241171"/>
                  </a:lnTo>
                  <a:lnTo>
                    <a:pt x="180837" y="208164"/>
                  </a:lnTo>
                  <a:lnTo>
                    <a:pt x="212488" y="177159"/>
                  </a:lnTo>
                  <a:lnTo>
                    <a:pt x="246183" y="148266"/>
                  </a:lnTo>
                  <a:lnTo>
                    <a:pt x="281807" y="121597"/>
                  </a:lnTo>
                  <a:lnTo>
                    <a:pt x="319249" y="97263"/>
                  </a:lnTo>
                  <a:lnTo>
                    <a:pt x="358393" y="75375"/>
                  </a:lnTo>
                  <a:lnTo>
                    <a:pt x="399127" y="56045"/>
                  </a:lnTo>
                  <a:lnTo>
                    <a:pt x="441337" y="39383"/>
                  </a:lnTo>
                  <a:lnTo>
                    <a:pt x="484910" y="25502"/>
                  </a:lnTo>
                  <a:lnTo>
                    <a:pt x="529732" y="14511"/>
                  </a:lnTo>
                  <a:lnTo>
                    <a:pt x="575690" y="6523"/>
                  </a:lnTo>
                  <a:lnTo>
                    <a:pt x="622670" y="1649"/>
                  </a:lnTo>
                  <a:lnTo>
                    <a:pt x="670560" y="0"/>
                  </a:lnTo>
                  <a:lnTo>
                    <a:pt x="718447" y="1649"/>
                  </a:lnTo>
                  <a:lnTo>
                    <a:pt x="765426" y="6523"/>
                  </a:lnTo>
                  <a:lnTo>
                    <a:pt x="811383" y="14511"/>
                  </a:lnTo>
                  <a:lnTo>
                    <a:pt x="856205" y="25502"/>
                  </a:lnTo>
                  <a:lnTo>
                    <a:pt x="899777" y="39383"/>
                  </a:lnTo>
                  <a:lnTo>
                    <a:pt x="941987" y="56045"/>
                  </a:lnTo>
                  <a:lnTo>
                    <a:pt x="982721" y="75375"/>
                  </a:lnTo>
                  <a:lnTo>
                    <a:pt x="1021865" y="97263"/>
                  </a:lnTo>
                  <a:lnTo>
                    <a:pt x="1059306" y="121597"/>
                  </a:lnTo>
                  <a:lnTo>
                    <a:pt x="1094931" y="148266"/>
                  </a:lnTo>
                  <a:lnTo>
                    <a:pt x="1128626" y="177159"/>
                  </a:lnTo>
                  <a:lnTo>
                    <a:pt x="1160277" y="208164"/>
                  </a:lnTo>
                  <a:lnTo>
                    <a:pt x="1189772" y="241171"/>
                  </a:lnTo>
                  <a:lnTo>
                    <a:pt x="1216996" y="276068"/>
                  </a:lnTo>
                  <a:lnTo>
                    <a:pt x="1241836" y="312744"/>
                  </a:lnTo>
                  <a:lnTo>
                    <a:pt x="1264179" y="351087"/>
                  </a:lnTo>
                  <a:lnTo>
                    <a:pt x="1283911" y="390987"/>
                  </a:lnTo>
                  <a:lnTo>
                    <a:pt x="1300918" y="432333"/>
                  </a:lnTo>
                  <a:lnTo>
                    <a:pt x="1315088" y="475012"/>
                  </a:lnTo>
                  <a:lnTo>
                    <a:pt x="1326307" y="518914"/>
                  </a:lnTo>
                  <a:lnTo>
                    <a:pt x="1334460" y="563927"/>
                  </a:lnTo>
                  <a:lnTo>
                    <a:pt x="1339436" y="609941"/>
                  </a:lnTo>
                  <a:lnTo>
                    <a:pt x="1341120" y="656843"/>
                  </a:lnTo>
                  <a:lnTo>
                    <a:pt x="1339436" y="703746"/>
                  </a:lnTo>
                  <a:lnTo>
                    <a:pt x="1334460" y="749760"/>
                  </a:lnTo>
                  <a:lnTo>
                    <a:pt x="1326307" y="794773"/>
                  </a:lnTo>
                  <a:lnTo>
                    <a:pt x="1315088" y="838675"/>
                  </a:lnTo>
                  <a:lnTo>
                    <a:pt x="1300918" y="881354"/>
                  </a:lnTo>
                  <a:lnTo>
                    <a:pt x="1283911" y="922700"/>
                  </a:lnTo>
                  <a:lnTo>
                    <a:pt x="1264179" y="962600"/>
                  </a:lnTo>
                  <a:lnTo>
                    <a:pt x="1241836" y="1000943"/>
                  </a:lnTo>
                  <a:lnTo>
                    <a:pt x="1216996" y="1037619"/>
                  </a:lnTo>
                  <a:lnTo>
                    <a:pt x="1189772" y="1072516"/>
                  </a:lnTo>
                  <a:lnTo>
                    <a:pt x="1160277" y="1105523"/>
                  </a:lnTo>
                  <a:lnTo>
                    <a:pt x="1128626" y="1136528"/>
                  </a:lnTo>
                  <a:lnTo>
                    <a:pt x="1094931" y="1165421"/>
                  </a:lnTo>
                  <a:lnTo>
                    <a:pt x="1059306" y="1192090"/>
                  </a:lnTo>
                  <a:lnTo>
                    <a:pt x="1021865" y="1216424"/>
                  </a:lnTo>
                  <a:lnTo>
                    <a:pt x="982721" y="1238312"/>
                  </a:lnTo>
                  <a:lnTo>
                    <a:pt x="941987" y="1257642"/>
                  </a:lnTo>
                  <a:lnTo>
                    <a:pt x="899777" y="1274304"/>
                  </a:lnTo>
                  <a:lnTo>
                    <a:pt x="856205" y="1288185"/>
                  </a:lnTo>
                  <a:lnTo>
                    <a:pt x="811383" y="1299176"/>
                  </a:lnTo>
                  <a:lnTo>
                    <a:pt x="765426" y="1307164"/>
                  </a:lnTo>
                  <a:lnTo>
                    <a:pt x="718447" y="1312038"/>
                  </a:lnTo>
                  <a:lnTo>
                    <a:pt x="670560" y="1313688"/>
                  </a:lnTo>
                  <a:lnTo>
                    <a:pt x="622670" y="1312038"/>
                  </a:lnTo>
                  <a:lnTo>
                    <a:pt x="575690" y="1307164"/>
                  </a:lnTo>
                  <a:lnTo>
                    <a:pt x="529732" y="1299176"/>
                  </a:lnTo>
                  <a:lnTo>
                    <a:pt x="484910" y="1288185"/>
                  </a:lnTo>
                  <a:lnTo>
                    <a:pt x="441337" y="1274304"/>
                  </a:lnTo>
                  <a:lnTo>
                    <a:pt x="399127" y="1257642"/>
                  </a:lnTo>
                  <a:lnTo>
                    <a:pt x="358393" y="1238312"/>
                  </a:lnTo>
                  <a:lnTo>
                    <a:pt x="319249" y="1216424"/>
                  </a:lnTo>
                  <a:lnTo>
                    <a:pt x="281807" y="1192090"/>
                  </a:lnTo>
                  <a:lnTo>
                    <a:pt x="246183" y="1165421"/>
                  </a:lnTo>
                  <a:lnTo>
                    <a:pt x="212488" y="1136528"/>
                  </a:lnTo>
                  <a:lnTo>
                    <a:pt x="180837" y="1105523"/>
                  </a:lnTo>
                  <a:lnTo>
                    <a:pt x="151343" y="1072516"/>
                  </a:lnTo>
                  <a:lnTo>
                    <a:pt x="124120" y="1037619"/>
                  </a:lnTo>
                  <a:lnTo>
                    <a:pt x="99280" y="1000943"/>
                  </a:lnTo>
                  <a:lnTo>
                    <a:pt x="76938" y="962600"/>
                  </a:lnTo>
                  <a:lnTo>
                    <a:pt x="57206" y="922700"/>
                  </a:lnTo>
                  <a:lnTo>
                    <a:pt x="40199" y="881354"/>
                  </a:lnTo>
                  <a:lnTo>
                    <a:pt x="26030" y="838675"/>
                  </a:lnTo>
                  <a:lnTo>
                    <a:pt x="14812" y="794773"/>
                  </a:lnTo>
                  <a:lnTo>
                    <a:pt x="6658" y="749760"/>
                  </a:lnTo>
                  <a:lnTo>
                    <a:pt x="1683" y="703746"/>
                  </a:lnTo>
                  <a:lnTo>
                    <a:pt x="0" y="656843"/>
                  </a:lnTo>
                  <a:close/>
                </a:path>
              </a:pathLst>
            </a:custGeom>
            <a:ln w="25400">
              <a:solidFill>
                <a:srgbClr val="FFFFFF"/>
              </a:solidFill>
            </a:ln>
          </p:spPr>
          <p:txBody>
            <a:bodyPr wrap="square" lIns="0" tIns="0" rIns="0" bIns="0" rtlCol="0"/>
            <a:lstStyle/>
            <a:p>
              <a:endParaRPr/>
            </a:p>
          </p:txBody>
        </p:sp>
        <p:pic>
          <p:nvPicPr>
            <p:cNvPr id="6" name="object 6"/>
            <p:cNvPicPr/>
            <p:nvPr/>
          </p:nvPicPr>
          <p:blipFill>
            <a:blip r:embed="rId2" cstate="print"/>
            <a:stretch>
              <a:fillRect/>
            </a:stretch>
          </p:blipFill>
          <p:spPr>
            <a:xfrm>
              <a:off x="493776" y="582168"/>
              <a:ext cx="970788" cy="950976"/>
            </a:xfrm>
            <a:prstGeom prst="rect">
              <a:avLst/>
            </a:prstGeom>
          </p:spPr>
        </p:pic>
      </p:grpSp>
      <p:sp>
        <p:nvSpPr>
          <p:cNvPr id="10" name="object 10"/>
          <p:cNvSpPr txBox="1"/>
          <p:nvPr/>
        </p:nvSpPr>
        <p:spPr>
          <a:xfrm>
            <a:off x="7042531" y="4019804"/>
            <a:ext cx="2055495" cy="299720"/>
          </a:xfrm>
          <a:prstGeom prst="rect">
            <a:avLst/>
          </a:prstGeom>
        </p:spPr>
        <p:txBody>
          <a:bodyPr vert="horz" wrap="square" lIns="0" tIns="12700" rIns="0" bIns="0" rtlCol="0">
            <a:spAutoFit/>
          </a:bodyPr>
          <a:lstStyle/>
          <a:p>
            <a:pPr marL="12700">
              <a:spcBef>
                <a:spcPts val="100"/>
              </a:spcBef>
            </a:pPr>
            <a:r>
              <a:rPr i="1" spc="-10" dirty="0">
                <a:solidFill>
                  <a:srgbClr val="FFFFFF"/>
                </a:solidFill>
                <a:latin typeface="Calibri"/>
                <a:cs typeface="Calibri"/>
              </a:rPr>
              <a:t>Charlas</a:t>
            </a:r>
            <a:r>
              <a:rPr i="1" spc="-25" dirty="0">
                <a:solidFill>
                  <a:srgbClr val="FFFFFF"/>
                </a:solidFill>
                <a:latin typeface="Calibri"/>
                <a:cs typeface="Calibri"/>
              </a:rPr>
              <a:t> </a:t>
            </a:r>
            <a:r>
              <a:rPr i="1" spc="-5" dirty="0">
                <a:solidFill>
                  <a:srgbClr val="FFFFFF"/>
                </a:solidFill>
                <a:latin typeface="Calibri"/>
                <a:cs typeface="Calibri"/>
              </a:rPr>
              <a:t>de</a:t>
            </a:r>
            <a:r>
              <a:rPr i="1" spc="-20" dirty="0">
                <a:solidFill>
                  <a:srgbClr val="FFFFFF"/>
                </a:solidFill>
                <a:latin typeface="Calibri"/>
                <a:cs typeface="Calibri"/>
              </a:rPr>
              <a:t> </a:t>
            </a:r>
            <a:r>
              <a:rPr i="1" spc="-5" dirty="0">
                <a:solidFill>
                  <a:srgbClr val="FFFFFF"/>
                </a:solidFill>
                <a:latin typeface="Calibri"/>
                <a:cs typeface="Calibri"/>
              </a:rPr>
              <a:t>bienvenida</a:t>
            </a:r>
            <a:endParaRPr dirty="0">
              <a:latin typeface="Calibri"/>
              <a:cs typeface="Calibri"/>
            </a:endParaRPr>
          </a:p>
        </p:txBody>
      </p:sp>
      <p:sp>
        <p:nvSpPr>
          <p:cNvPr id="11" name="object 11"/>
          <p:cNvSpPr txBox="1"/>
          <p:nvPr/>
        </p:nvSpPr>
        <p:spPr>
          <a:xfrm>
            <a:off x="3459226" y="1730502"/>
            <a:ext cx="1601470" cy="299720"/>
          </a:xfrm>
          <a:prstGeom prst="rect">
            <a:avLst/>
          </a:prstGeom>
        </p:spPr>
        <p:txBody>
          <a:bodyPr vert="horz" wrap="square" lIns="0" tIns="12700" rIns="0" bIns="0" rtlCol="0">
            <a:spAutoFit/>
          </a:bodyPr>
          <a:lstStyle/>
          <a:p>
            <a:pPr marL="12700">
              <a:spcBef>
                <a:spcPts val="100"/>
              </a:spcBef>
            </a:pPr>
            <a:r>
              <a:rPr i="1" spc="-10" dirty="0">
                <a:solidFill>
                  <a:srgbClr val="FFFFFF"/>
                </a:solidFill>
                <a:latin typeface="Calibri"/>
                <a:cs typeface="Calibri"/>
              </a:rPr>
              <a:t>Stand</a:t>
            </a:r>
            <a:r>
              <a:rPr i="1" spc="-45" dirty="0">
                <a:solidFill>
                  <a:srgbClr val="FFFFFF"/>
                </a:solidFill>
                <a:latin typeface="Calibri"/>
                <a:cs typeface="Calibri"/>
              </a:rPr>
              <a:t> </a:t>
            </a:r>
            <a:r>
              <a:rPr i="1" dirty="0">
                <a:solidFill>
                  <a:srgbClr val="FFFFFF"/>
                </a:solidFill>
                <a:latin typeface="Calibri"/>
                <a:cs typeface="Calibri"/>
              </a:rPr>
              <a:t>en</a:t>
            </a:r>
            <a:r>
              <a:rPr i="1" spc="-25" dirty="0">
                <a:solidFill>
                  <a:srgbClr val="FFFFFF"/>
                </a:solidFill>
                <a:latin typeface="Calibri"/>
                <a:cs typeface="Calibri"/>
              </a:rPr>
              <a:t> </a:t>
            </a:r>
            <a:r>
              <a:rPr i="1" spc="-10" dirty="0">
                <a:solidFill>
                  <a:srgbClr val="FFFFFF"/>
                </a:solidFill>
                <a:latin typeface="Calibri"/>
                <a:cs typeface="Calibri"/>
              </a:rPr>
              <a:t>eventos</a:t>
            </a:r>
            <a:endParaRPr dirty="0">
              <a:latin typeface="Calibri"/>
              <a:cs typeface="Calibri"/>
            </a:endParaRPr>
          </a:p>
        </p:txBody>
      </p:sp>
      <p:sp>
        <p:nvSpPr>
          <p:cNvPr id="16" name="CuadroTexto 15">
            <a:extLst>
              <a:ext uri="{FF2B5EF4-FFF2-40B4-BE49-F238E27FC236}">
                <a16:creationId xmlns:a16="http://schemas.microsoft.com/office/drawing/2014/main" id="{5649559F-83CC-0949-EA9C-4C14111F07F6}"/>
              </a:ext>
            </a:extLst>
          </p:cNvPr>
          <p:cNvSpPr txBox="1"/>
          <p:nvPr/>
        </p:nvSpPr>
        <p:spPr>
          <a:xfrm>
            <a:off x="3246530" y="228600"/>
            <a:ext cx="8412070" cy="707886"/>
          </a:xfrm>
          <a:prstGeom prst="rect">
            <a:avLst/>
          </a:prstGeom>
          <a:noFill/>
        </p:spPr>
        <p:txBody>
          <a:bodyPr wrap="square">
            <a:spAutoFit/>
          </a:bodyPr>
          <a:lstStyle/>
          <a:p>
            <a:r>
              <a:rPr lang="en-US" sz="4000" b="1" kern="0" dirty="0">
                <a:solidFill>
                  <a:schemeClr val="bg1"/>
                </a:solidFill>
              </a:rPr>
              <a:t>Segundo regalo </a:t>
            </a:r>
            <a:r>
              <a:rPr lang="en-US" sz="4000" b="1" kern="0" dirty="0" err="1">
                <a:solidFill>
                  <a:schemeClr val="bg1"/>
                </a:solidFill>
              </a:rPr>
              <a:t>Ciberseguridad</a:t>
            </a:r>
            <a:r>
              <a:rPr lang="en-US" sz="4000" b="1" kern="0" dirty="0">
                <a:solidFill>
                  <a:schemeClr val="bg1"/>
                </a:solidFill>
              </a:rPr>
              <a:t> OT</a:t>
            </a:r>
          </a:p>
        </p:txBody>
      </p:sp>
      <p:sp>
        <p:nvSpPr>
          <p:cNvPr id="7" name="CuadroTexto 6">
            <a:extLst>
              <a:ext uri="{FF2B5EF4-FFF2-40B4-BE49-F238E27FC236}">
                <a16:creationId xmlns:a16="http://schemas.microsoft.com/office/drawing/2014/main" id="{7CC1C9F5-9E14-5B19-22BE-B55AAB28C599}"/>
              </a:ext>
            </a:extLst>
          </p:cNvPr>
          <p:cNvSpPr txBox="1"/>
          <p:nvPr/>
        </p:nvSpPr>
        <p:spPr>
          <a:xfrm>
            <a:off x="355106" y="2502712"/>
            <a:ext cx="6029706" cy="1323439"/>
          </a:xfrm>
          <a:prstGeom prst="rect">
            <a:avLst/>
          </a:prstGeom>
          <a:noFill/>
        </p:spPr>
        <p:txBody>
          <a:bodyPr wrap="square">
            <a:spAutoFit/>
          </a:bodyPr>
          <a:lstStyle/>
          <a:p>
            <a:r>
              <a:rPr lang="en-US" sz="4000" b="1" kern="0" dirty="0" err="1">
                <a:solidFill>
                  <a:schemeClr val="bg1"/>
                </a:solidFill>
              </a:rPr>
              <a:t>Octubre</a:t>
            </a:r>
            <a:br>
              <a:rPr lang="en-US" sz="4000" b="1" kern="0" dirty="0">
                <a:solidFill>
                  <a:schemeClr val="bg1"/>
                </a:solidFill>
              </a:rPr>
            </a:br>
            <a:r>
              <a:rPr lang="en-US" sz="4000" b="1" kern="0" dirty="0">
                <a:solidFill>
                  <a:schemeClr val="bg1"/>
                </a:solidFill>
              </a:rPr>
              <a:t>AMGITT</a:t>
            </a:r>
          </a:p>
        </p:txBody>
      </p:sp>
      <p:pic>
        <p:nvPicPr>
          <p:cNvPr id="9" name="Imagen 8">
            <a:extLst>
              <a:ext uri="{FF2B5EF4-FFF2-40B4-BE49-F238E27FC236}">
                <a16:creationId xmlns:a16="http://schemas.microsoft.com/office/drawing/2014/main" id="{D07865B1-FCAF-D350-47C4-A89FA0701F24}"/>
              </a:ext>
            </a:extLst>
          </p:cNvPr>
          <p:cNvPicPr>
            <a:picLocks noChangeAspect="1"/>
          </p:cNvPicPr>
          <p:nvPr/>
        </p:nvPicPr>
        <p:blipFill>
          <a:blip r:embed="rId3"/>
          <a:stretch>
            <a:fillRect/>
          </a:stretch>
        </p:blipFill>
        <p:spPr>
          <a:xfrm>
            <a:off x="2514600" y="1081946"/>
            <a:ext cx="9494815" cy="5875716"/>
          </a:xfrm>
          <a:prstGeom prst="rect">
            <a:avLst/>
          </a:prstGeom>
        </p:spPr>
      </p:pic>
      <p:pic>
        <p:nvPicPr>
          <p:cNvPr id="13" name="Imagen 12" descr="Esquemático&#10;&#10;Descripción generada automáticamente con confianza baja">
            <a:extLst>
              <a:ext uri="{FF2B5EF4-FFF2-40B4-BE49-F238E27FC236}">
                <a16:creationId xmlns:a16="http://schemas.microsoft.com/office/drawing/2014/main" id="{70695493-2F0B-FCD7-26AE-381525607A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465" y="4274060"/>
            <a:ext cx="2604351" cy="1804995"/>
          </a:xfrm>
          <a:prstGeom prst="rect">
            <a:avLst/>
          </a:prstGeom>
        </p:spPr>
      </p:pic>
    </p:spTree>
    <p:extLst>
      <p:ext uri="{BB962C8B-B14F-4D97-AF65-F5344CB8AC3E}">
        <p14:creationId xmlns:p14="http://schemas.microsoft.com/office/powerpoint/2010/main" val="1894356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17ABCF-A7EA-4200-AF90-31EDEA9081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7E17ABCF-A7EA-4200-AF90-31EDEA9081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head">
            <a:extLst>
              <a:ext uri="{FF2B5EF4-FFF2-40B4-BE49-F238E27FC236}">
                <a16:creationId xmlns:a16="http://schemas.microsoft.com/office/drawing/2014/main" id="{75C10A5A-A3FB-41E8-BF5A-C06EBABD4EB4}"/>
              </a:ext>
            </a:extLst>
          </p:cNvPr>
          <p:cNvSpPr>
            <a:spLocks noGrp="1"/>
          </p:cNvSpPr>
          <p:nvPr>
            <p:ph type="subTitle" idx="1"/>
          </p:nvPr>
        </p:nvSpPr>
        <p:spPr bwMode="gray"/>
        <p:txBody>
          <a:bodyPr/>
          <a:lstStyle/>
          <a:p>
            <a:r>
              <a:rPr lang="en-US" sz="2400" i="1" noProof="0" dirty="0" err="1"/>
              <a:t>Teleco</a:t>
            </a:r>
            <a:r>
              <a:rPr lang="en-US" sz="2400" i="1" noProof="0" dirty="0"/>
              <a:t> la major </a:t>
            </a:r>
            <a:r>
              <a:rPr lang="en-US" sz="2400" i="1" noProof="0" dirty="0" err="1"/>
              <a:t>opción</a:t>
            </a:r>
            <a:r>
              <a:rPr lang="en-US" sz="2400" i="1" noProof="0" dirty="0"/>
              <a:t>!</a:t>
            </a:r>
          </a:p>
        </p:txBody>
      </p:sp>
      <p:sp>
        <p:nvSpPr>
          <p:cNvPr id="3" name="Fußzeilenplatzhalter 2">
            <a:extLst>
              <a:ext uri="{FF2B5EF4-FFF2-40B4-BE49-F238E27FC236}">
                <a16:creationId xmlns:a16="http://schemas.microsoft.com/office/drawing/2014/main" id="{B980EC70-5A47-415B-BD23-AF36F944FB43}"/>
              </a:ext>
            </a:extLst>
          </p:cNvPr>
          <p:cNvSpPr>
            <a:spLocks noGrp="1"/>
          </p:cNvSpPr>
          <p:nvPr>
            <p:ph type="ftr" sz="quarter" idx="11"/>
          </p:nvPr>
        </p:nvSpPr>
        <p:spPr/>
        <p:txBody>
          <a:bodyPr/>
          <a:lstStyle/>
          <a:p>
            <a:r>
              <a:rPr lang="de-DE" dirty="0"/>
              <a:t>Unrestricted © Siemens Gamesa Renewable Energy, 2024 | Manuel Ballesteros</a:t>
            </a:r>
            <a:endParaRPr lang="en-GB" dirty="0"/>
          </a:p>
        </p:txBody>
      </p:sp>
      <p:sp>
        <p:nvSpPr>
          <p:cNvPr id="2" name="Fußzeilenplatzhalter 2">
            <a:extLst>
              <a:ext uri="{FF2B5EF4-FFF2-40B4-BE49-F238E27FC236}">
                <a16:creationId xmlns:a16="http://schemas.microsoft.com/office/drawing/2014/main" id="{05E11177-1715-D048-5BAA-59CEBA0F0E2D}"/>
              </a:ext>
            </a:extLst>
          </p:cNvPr>
          <p:cNvSpPr txBox="1">
            <a:spLocks/>
          </p:cNvSpPr>
          <p:nvPr/>
        </p:nvSpPr>
        <p:spPr>
          <a:xfrm>
            <a:off x="627062" y="6526799"/>
            <a:ext cx="5841612" cy="331200"/>
          </a:xfrm>
          <a:prstGeom prst="rect">
            <a:avLst/>
          </a:prstGeom>
        </p:spPr>
        <p:txBody>
          <a:bodyPr vert="horz" lIns="0" tIns="0" rIns="482400" bIns="0" rtlCol="0" anchor="t"/>
          <a:lstStyle>
            <a:defPPr>
              <a:defRPr lang="de-DE"/>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t>Siemens </a:t>
            </a:r>
            <a:r>
              <a:rPr lang="de-DE" dirty="0" err="1"/>
              <a:t>Gamesa</a:t>
            </a:r>
            <a:r>
              <a:rPr lang="de-DE" dirty="0"/>
              <a:t> </a:t>
            </a:r>
            <a:r>
              <a:rPr lang="de-DE" dirty="0" err="1"/>
              <a:t>is</a:t>
            </a:r>
            <a:r>
              <a:rPr lang="de-DE" dirty="0"/>
              <a:t> a </a:t>
            </a:r>
            <a:r>
              <a:rPr lang="en-US" dirty="0"/>
              <a:t>trademark licensed by Siemens AG.</a:t>
            </a:r>
            <a:endParaRPr lang="en-GB" dirty="0"/>
          </a:p>
        </p:txBody>
      </p:sp>
      <p:sp>
        <p:nvSpPr>
          <p:cNvPr id="8" name="Title 7">
            <a:extLst>
              <a:ext uri="{FF2B5EF4-FFF2-40B4-BE49-F238E27FC236}">
                <a16:creationId xmlns:a16="http://schemas.microsoft.com/office/drawing/2014/main" id="{926ADD1B-D596-AB1B-A162-97CA2441B750}"/>
              </a:ext>
            </a:extLst>
          </p:cNvPr>
          <p:cNvSpPr>
            <a:spLocks noGrp="1"/>
          </p:cNvSpPr>
          <p:nvPr>
            <p:ph type="ctrTitle"/>
          </p:nvPr>
        </p:nvSpPr>
        <p:spPr>
          <a:xfrm>
            <a:off x="627062" y="1066800"/>
            <a:ext cx="5614988" cy="3114000"/>
          </a:xfrm>
        </p:spPr>
        <p:txBody>
          <a:bodyPr/>
          <a:lstStyle/>
          <a:p>
            <a:r>
              <a:rPr lang="es-ES" sz="4800" dirty="0"/>
              <a:t>Creatividad</a:t>
            </a:r>
            <a:br>
              <a:rPr lang="es-ES" sz="4800" dirty="0"/>
            </a:br>
            <a:r>
              <a:rPr lang="es-ES" sz="4800" dirty="0"/>
              <a:t>Energía para generaciones futuras</a:t>
            </a:r>
          </a:p>
        </p:txBody>
      </p:sp>
    </p:spTree>
    <p:extLst>
      <p:ext uri="{BB962C8B-B14F-4D97-AF65-F5344CB8AC3E}">
        <p14:creationId xmlns:p14="http://schemas.microsoft.com/office/powerpoint/2010/main" val="22566652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1F58FFEA-FC63-689F-DD0E-92D4A91392B0}"/>
              </a:ext>
            </a:extLst>
          </p:cNvPr>
          <p:cNvGraphicFramePr>
            <a:graphicFrameLocks noGrp="1"/>
          </p:cNvGraphicFramePr>
          <p:nvPr>
            <p:extLst>
              <p:ext uri="{D42A27DB-BD31-4B8C-83A1-F6EECF244321}">
                <p14:modId xmlns:p14="http://schemas.microsoft.com/office/powerpoint/2010/main" val="965691023"/>
              </p:ext>
            </p:extLst>
          </p:nvPr>
        </p:nvGraphicFramePr>
        <p:xfrm>
          <a:off x="152400" y="-46016"/>
          <a:ext cx="12211291" cy="6908932"/>
        </p:xfrm>
        <a:graphic>
          <a:graphicData uri="http://schemas.openxmlformats.org/drawingml/2006/table">
            <a:tbl>
              <a:tblPr>
                <a:tableStyleId>{5FD0F851-EC5A-4D38-B0AD-8093EC10F338}</a:tableStyleId>
              </a:tblPr>
              <a:tblGrid>
                <a:gridCol w="2518579">
                  <a:extLst>
                    <a:ext uri="{9D8B030D-6E8A-4147-A177-3AD203B41FA5}">
                      <a16:colId xmlns:a16="http://schemas.microsoft.com/office/drawing/2014/main" val="65168371"/>
                    </a:ext>
                  </a:extLst>
                </a:gridCol>
                <a:gridCol w="4579234">
                  <a:extLst>
                    <a:ext uri="{9D8B030D-6E8A-4147-A177-3AD203B41FA5}">
                      <a16:colId xmlns:a16="http://schemas.microsoft.com/office/drawing/2014/main" val="3634377888"/>
                    </a:ext>
                  </a:extLst>
                </a:gridCol>
                <a:gridCol w="5113478">
                  <a:extLst>
                    <a:ext uri="{9D8B030D-6E8A-4147-A177-3AD203B41FA5}">
                      <a16:colId xmlns:a16="http://schemas.microsoft.com/office/drawing/2014/main" val="3339779318"/>
                    </a:ext>
                  </a:extLst>
                </a:gridCol>
              </a:tblGrid>
              <a:tr h="736793">
                <a:tc>
                  <a:txBody>
                    <a:bodyPr/>
                    <a:lstStyle/>
                    <a:p>
                      <a:pPr algn="l" rtl="0" fontAlgn="auto"/>
                      <a:endParaRPr lang="en-US" sz="2800" dirty="0">
                        <a:solidFill>
                          <a:schemeClr val="tx1"/>
                        </a:solidFill>
                        <a:effectLst/>
                        <a:latin typeface="+mj-lt"/>
                      </a:endParaRPr>
                    </a:p>
                  </a:txBody>
                  <a:tcPr marL="39608" marR="39608" marT="19804" marB="19804" anchor="ctr"/>
                </a:tc>
                <a:tc>
                  <a:txBody>
                    <a:bodyPr/>
                    <a:lstStyle/>
                    <a:p>
                      <a:pPr algn="l" rtl="0" fontAlgn="auto"/>
                      <a:r>
                        <a:rPr lang="en-US" sz="2800" b="1" dirty="0">
                          <a:solidFill>
                            <a:schemeClr val="tx1"/>
                          </a:solidFill>
                          <a:effectLst/>
                        </a:rPr>
                        <a:t>AMGITT/Alumni ETSIST</a:t>
                      </a:r>
                      <a:endParaRPr lang="en-US" sz="2800" dirty="0">
                        <a:solidFill>
                          <a:schemeClr val="tx1"/>
                        </a:solidFill>
                        <a:effectLst/>
                        <a:latin typeface="+mj-lt"/>
                      </a:endParaRPr>
                    </a:p>
                  </a:txBody>
                  <a:tcPr marL="39608" marR="39608" marT="19804" marB="19804" anchor="ctr"/>
                </a:tc>
                <a:tc>
                  <a:txBody>
                    <a:bodyPr/>
                    <a:lstStyle/>
                    <a:p>
                      <a:pPr algn="l" rtl="0" fontAlgn="auto"/>
                      <a:r>
                        <a:rPr lang="en-US" sz="2800" b="1" dirty="0">
                          <a:solidFill>
                            <a:schemeClr val="tx1"/>
                          </a:solidFill>
                          <a:effectLst/>
                        </a:rPr>
                        <a:t>IEEE</a:t>
                      </a:r>
                      <a:endParaRPr lang="en-US" sz="2800" dirty="0">
                        <a:solidFill>
                          <a:schemeClr val="tx1"/>
                        </a:solidFill>
                        <a:effectLst/>
                        <a:latin typeface="+mj-lt"/>
                      </a:endParaRPr>
                    </a:p>
                  </a:txBody>
                  <a:tcPr marL="39608" marR="39608" marT="19804" marB="19804" anchor="ctr"/>
                </a:tc>
                <a:extLst>
                  <a:ext uri="{0D108BD9-81ED-4DB2-BD59-A6C34878D82A}">
                    <a16:rowId xmlns:a16="http://schemas.microsoft.com/office/drawing/2014/main" val="3165407574"/>
                  </a:ext>
                </a:extLst>
              </a:tr>
              <a:tr h="1274410">
                <a:tc>
                  <a:txBody>
                    <a:bodyPr/>
                    <a:lstStyle/>
                    <a:p>
                      <a:pPr algn="l" rtl="0" fontAlgn="auto"/>
                      <a:r>
                        <a:rPr lang="en-US" sz="2000" b="1" dirty="0" err="1">
                          <a:solidFill>
                            <a:schemeClr val="tx1"/>
                          </a:solidFill>
                          <a:effectLst/>
                        </a:rPr>
                        <a:t>Misión</a:t>
                      </a:r>
                      <a:endParaRPr lang="en-US" sz="2000" dirty="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Representar a los Graduados de telecomunicaciones en Madrid, promoviendo la mejora del colectivo profesional.</a:t>
                      </a:r>
                      <a:endParaRPr lang="es-ES" sz="1800" dirty="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Fomentar la innovación tecnológica y el avance de la ingeniería en todo el mundo.</a:t>
                      </a:r>
                      <a:endParaRPr lang="es-E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1856654653"/>
                  </a:ext>
                </a:extLst>
              </a:tr>
              <a:tr h="318942">
                <a:tc>
                  <a:txBody>
                    <a:bodyPr/>
                    <a:lstStyle/>
                    <a:p>
                      <a:pPr algn="l" rtl="0" fontAlgn="auto"/>
                      <a:r>
                        <a:rPr lang="en-US" sz="2000" b="1" dirty="0" err="1">
                          <a:solidFill>
                            <a:schemeClr val="tx1"/>
                          </a:solidFill>
                          <a:effectLst/>
                        </a:rPr>
                        <a:t>Alcance</a:t>
                      </a:r>
                      <a:endParaRPr lang="en-US" sz="2000" dirty="0">
                        <a:solidFill>
                          <a:schemeClr val="tx1"/>
                        </a:solidFill>
                        <a:effectLst/>
                        <a:latin typeface="+mj-lt"/>
                      </a:endParaRPr>
                    </a:p>
                  </a:txBody>
                  <a:tcPr marL="39608" marR="39608" marT="19804" marB="19804" anchor="ctr"/>
                </a:tc>
                <a:tc>
                  <a:txBody>
                    <a:bodyPr/>
                    <a:lstStyle/>
                    <a:p>
                      <a:pPr algn="l" rtl="0" fontAlgn="auto"/>
                      <a:r>
                        <a:rPr lang="en-US" sz="1800">
                          <a:solidFill>
                            <a:schemeClr val="tx1"/>
                          </a:solidFill>
                          <a:effectLst/>
                        </a:rPr>
                        <a:t>Local - Madrid.</a:t>
                      </a:r>
                      <a:endParaRPr lang="en-US" sz="180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Internacional, más de 160 países.</a:t>
                      </a:r>
                      <a:endParaRPr lang="es-E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2009326577"/>
                  </a:ext>
                </a:extLst>
              </a:tr>
              <a:tr h="531225">
                <a:tc>
                  <a:txBody>
                    <a:bodyPr/>
                    <a:lstStyle/>
                    <a:p>
                      <a:pPr algn="l" rtl="0" fontAlgn="auto"/>
                      <a:r>
                        <a:rPr lang="en-US" sz="2000" b="1">
                          <a:solidFill>
                            <a:schemeClr val="tx1"/>
                          </a:solidFill>
                          <a:effectLst/>
                        </a:rPr>
                        <a:t>Miembros</a:t>
                      </a:r>
                      <a:endParaRPr lang="en-US" sz="2000">
                        <a:solidFill>
                          <a:schemeClr val="tx1"/>
                        </a:solidFill>
                        <a:effectLst/>
                        <a:latin typeface="+mj-lt"/>
                      </a:endParaRPr>
                    </a:p>
                  </a:txBody>
                  <a:tcPr marL="39608" marR="39608" marT="19804" marB="19804" anchor="ctr"/>
                </a:tc>
                <a:tc>
                  <a:txBody>
                    <a:bodyPr/>
                    <a:lstStyle/>
                    <a:p>
                      <a:pPr algn="l" rtl="0" fontAlgn="auto"/>
                      <a:r>
                        <a:rPr lang="en-US" sz="1800" dirty="0">
                          <a:solidFill>
                            <a:schemeClr val="tx1"/>
                          </a:solidFill>
                          <a:effectLst/>
                        </a:rPr>
                        <a:t>200 </a:t>
                      </a:r>
                      <a:r>
                        <a:rPr lang="en-US" sz="1800" dirty="0" err="1">
                          <a:solidFill>
                            <a:schemeClr val="tx1"/>
                          </a:solidFill>
                          <a:effectLst/>
                        </a:rPr>
                        <a:t>asociados</a:t>
                      </a:r>
                      <a:r>
                        <a:rPr lang="en-US" sz="1800" dirty="0">
                          <a:solidFill>
                            <a:schemeClr val="tx1"/>
                          </a:solidFill>
                          <a:effectLst/>
                        </a:rPr>
                        <a:t>.</a:t>
                      </a:r>
                      <a:endParaRPr lang="en-US" sz="1800" dirty="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420,000 miembros en todo el mundo.</a:t>
                      </a:r>
                      <a:endParaRPr lang="es-E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986148600"/>
                  </a:ext>
                </a:extLst>
              </a:tr>
              <a:tr h="1026681">
                <a:tc>
                  <a:txBody>
                    <a:bodyPr/>
                    <a:lstStyle/>
                    <a:p>
                      <a:pPr algn="l" rtl="0" fontAlgn="auto"/>
                      <a:r>
                        <a:rPr lang="en-US" sz="2000" b="1" dirty="0" err="1">
                          <a:solidFill>
                            <a:schemeClr val="tx1"/>
                          </a:solidFill>
                          <a:effectLst/>
                        </a:rPr>
                        <a:t>Áreas</a:t>
                      </a:r>
                      <a:endParaRPr lang="en-US" sz="2000" dirty="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Empleo, </a:t>
                      </a:r>
                      <a:r>
                        <a:rPr lang="es-ES" sz="1800" dirty="0" err="1">
                          <a:solidFill>
                            <a:schemeClr val="tx1"/>
                          </a:solidFill>
                          <a:effectLst/>
                        </a:rPr>
                        <a:t>mentorizacion</a:t>
                      </a:r>
                      <a:r>
                        <a:rPr lang="es-ES" sz="1800" dirty="0">
                          <a:solidFill>
                            <a:schemeClr val="tx1"/>
                          </a:solidFill>
                          <a:effectLst/>
                        </a:rPr>
                        <a:t>, comunicación y relaciones institucionales.</a:t>
                      </a:r>
                      <a:endParaRPr lang="es-ES" sz="1800" dirty="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Investigación, estandarización, formación continua, publicaciones.</a:t>
                      </a:r>
                      <a:endParaRPr lang="es-E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2783376647"/>
                  </a:ext>
                </a:extLst>
              </a:tr>
              <a:tr h="778953">
                <a:tc>
                  <a:txBody>
                    <a:bodyPr/>
                    <a:lstStyle/>
                    <a:p>
                      <a:pPr algn="l" rtl="0" fontAlgn="auto"/>
                      <a:r>
                        <a:rPr lang="en-US" sz="2000" b="1">
                          <a:solidFill>
                            <a:schemeClr val="tx1"/>
                          </a:solidFill>
                          <a:effectLst/>
                        </a:rPr>
                        <a:t>Relaciones </a:t>
                      </a:r>
                      <a:endParaRPr lang="en-US" sz="2000">
                        <a:solidFill>
                          <a:schemeClr val="tx1"/>
                        </a:solidFill>
                        <a:effectLst/>
                        <a:latin typeface="+mj-lt"/>
                      </a:endParaRPr>
                    </a:p>
                  </a:txBody>
                  <a:tcPr marL="39608" marR="39608" marT="19804" marB="19804" anchor="ctr"/>
                </a:tc>
                <a:tc>
                  <a:txBody>
                    <a:bodyPr/>
                    <a:lstStyle/>
                    <a:p>
                      <a:pPr algn="l" rtl="0" fontAlgn="auto"/>
                      <a:r>
                        <a:rPr lang="es-ES" sz="1800">
                          <a:solidFill>
                            <a:schemeClr val="tx1"/>
                          </a:solidFill>
                          <a:effectLst/>
                        </a:rPr>
                        <a:t>Relaciones con Escuelas de Teleco, FP y empresas de Madrid</a:t>
                      </a:r>
                      <a:endParaRPr lang="es-ES" sz="180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Colaboración con gobiernos, industrias, academias y estandarización a nivel mundial.</a:t>
                      </a:r>
                      <a:endParaRPr lang="es-E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2705031403"/>
                  </a:ext>
                </a:extLst>
              </a:tr>
              <a:tr h="1274410">
                <a:tc>
                  <a:txBody>
                    <a:bodyPr/>
                    <a:lstStyle/>
                    <a:p>
                      <a:pPr algn="l" rtl="0" fontAlgn="auto"/>
                      <a:r>
                        <a:rPr lang="en-US" sz="2000" b="1">
                          <a:solidFill>
                            <a:schemeClr val="tx1"/>
                          </a:solidFill>
                          <a:effectLst/>
                        </a:rPr>
                        <a:t>Objetivos estratégicos</a:t>
                      </a:r>
                      <a:endParaRPr lang="en-US" sz="2000">
                        <a:solidFill>
                          <a:schemeClr val="tx1"/>
                        </a:solidFill>
                        <a:effectLst/>
                        <a:latin typeface="+mj-lt"/>
                      </a:endParaRPr>
                    </a:p>
                  </a:txBody>
                  <a:tcPr marL="39608" marR="39608" marT="19804" marB="19804" anchor="ctr"/>
                </a:tc>
                <a:tc>
                  <a:txBody>
                    <a:bodyPr/>
                    <a:lstStyle/>
                    <a:p>
                      <a:pPr algn="l" rtl="0" fontAlgn="auto"/>
                      <a:r>
                        <a:rPr lang="es-ES" sz="1800">
                          <a:solidFill>
                            <a:schemeClr val="tx1"/>
                          </a:solidFill>
                          <a:effectLst/>
                        </a:rPr>
                        <a:t>modernización de la asociación, formación y apoyo al empleo, mejorar la visibilidad.</a:t>
                      </a:r>
                      <a:endParaRPr lang="es-ES" sz="1800">
                        <a:solidFill>
                          <a:schemeClr val="tx1"/>
                        </a:solidFill>
                        <a:effectLst/>
                        <a:latin typeface="+mj-lt"/>
                      </a:endParaRPr>
                    </a:p>
                  </a:txBody>
                  <a:tcPr marL="39608" marR="39608" marT="19804" marB="19804" anchor="ctr"/>
                </a:tc>
                <a:tc>
                  <a:txBody>
                    <a:bodyPr/>
                    <a:lstStyle/>
                    <a:p>
                      <a:pPr algn="l" rtl="0" fontAlgn="auto"/>
                      <a:r>
                        <a:rPr lang="es-ES" sz="1800" dirty="0">
                          <a:solidFill>
                            <a:schemeClr val="tx1"/>
                          </a:solidFill>
                          <a:effectLst/>
                        </a:rPr>
                        <a:t>Avance tecnológico, fomentar la innovación, y el impacto global de la ingeniería.</a:t>
                      </a:r>
                      <a:endParaRPr lang="es-E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2281736319"/>
                  </a:ext>
                </a:extLst>
              </a:tr>
              <a:tr h="318942">
                <a:tc>
                  <a:txBody>
                    <a:bodyPr/>
                    <a:lstStyle/>
                    <a:p>
                      <a:pPr algn="l" rtl="0" fontAlgn="auto"/>
                      <a:r>
                        <a:rPr lang="en-US" sz="2000">
                          <a:solidFill>
                            <a:schemeClr val="tx1"/>
                          </a:solidFill>
                          <a:effectLst/>
                        </a:rPr>
                        <a:t>Coste</a:t>
                      </a:r>
                      <a:endParaRPr lang="en-US" sz="2000">
                        <a:solidFill>
                          <a:schemeClr val="tx1"/>
                        </a:solidFill>
                        <a:effectLst/>
                        <a:latin typeface="+mj-lt"/>
                      </a:endParaRPr>
                    </a:p>
                  </a:txBody>
                  <a:tcPr marL="39608" marR="39608" marT="19804" marB="19804" anchor="ctr"/>
                </a:tc>
                <a:tc>
                  <a:txBody>
                    <a:bodyPr/>
                    <a:lstStyle/>
                    <a:p>
                      <a:pPr algn="l" rtl="0" fontAlgn="auto"/>
                      <a:r>
                        <a:rPr lang="en-US" sz="1800">
                          <a:solidFill>
                            <a:schemeClr val="tx1"/>
                          </a:solidFill>
                          <a:effectLst/>
                        </a:rPr>
                        <a:t>Gratis</a:t>
                      </a:r>
                      <a:endParaRPr lang="en-US" sz="1800">
                        <a:solidFill>
                          <a:schemeClr val="tx1"/>
                        </a:solidFill>
                        <a:effectLst/>
                        <a:latin typeface="+mj-lt"/>
                      </a:endParaRPr>
                    </a:p>
                  </a:txBody>
                  <a:tcPr marL="39608" marR="39608" marT="19804" marB="19804" anchor="ctr"/>
                </a:tc>
                <a:tc>
                  <a:txBody>
                    <a:bodyPr/>
                    <a:lstStyle/>
                    <a:p>
                      <a:pPr algn="l" rtl="0" fontAlgn="auto"/>
                      <a:r>
                        <a:rPr lang="en-US" sz="1800" dirty="0" err="1">
                          <a:solidFill>
                            <a:schemeClr val="tx1"/>
                          </a:solidFill>
                          <a:effectLst/>
                        </a:rPr>
                        <a:t>Estudiantes</a:t>
                      </a:r>
                      <a:r>
                        <a:rPr lang="en-US" sz="1800" dirty="0">
                          <a:solidFill>
                            <a:schemeClr val="tx1"/>
                          </a:solidFill>
                          <a:effectLst/>
                        </a:rPr>
                        <a:t>: 27$ Member 168$</a:t>
                      </a:r>
                      <a:endParaRPr lang="en-U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158231262"/>
                  </a:ext>
                </a:extLst>
              </a:tr>
              <a:tr h="597644">
                <a:tc>
                  <a:txBody>
                    <a:bodyPr/>
                    <a:lstStyle/>
                    <a:p>
                      <a:pPr algn="l" rtl="0" fontAlgn="auto"/>
                      <a:r>
                        <a:rPr lang="en-US" sz="2000" dirty="0">
                          <a:solidFill>
                            <a:schemeClr val="tx1"/>
                          </a:solidFill>
                          <a:effectLst/>
                        </a:rPr>
                        <a:t>CONTACTO</a:t>
                      </a:r>
                      <a:endParaRPr lang="en-US" sz="2000" dirty="0">
                        <a:solidFill>
                          <a:schemeClr val="tx1"/>
                        </a:solidFill>
                        <a:effectLst/>
                        <a:latin typeface="+mj-lt"/>
                      </a:endParaRPr>
                    </a:p>
                  </a:txBody>
                  <a:tcPr marL="39608" marR="39608" marT="19804" marB="19804" anchor="ctr"/>
                </a:tc>
                <a:tc>
                  <a:txBody>
                    <a:bodyPr/>
                    <a:lstStyle/>
                    <a:p>
                      <a:pPr algn="l" rtl="0" fontAlgn="auto"/>
                      <a:r>
                        <a:rPr lang="en-US" sz="1800">
                          <a:solidFill>
                            <a:schemeClr val="tx1"/>
                          </a:solidFill>
                          <a:effectLst/>
                        </a:rPr>
                        <a:t>Manuel Ballesteros</a:t>
                      </a:r>
                      <a:endParaRPr lang="en-US" sz="1800">
                        <a:solidFill>
                          <a:schemeClr val="tx1"/>
                        </a:solidFill>
                        <a:effectLst/>
                        <a:latin typeface="+mj-lt"/>
                      </a:endParaRPr>
                    </a:p>
                  </a:txBody>
                  <a:tcPr marL="39608" marR="39608" marT="19804" marB="19804" anchor="ctr"/>
                </a:tc>
                <a:tc>
                  <a:txBody>
                    <a:bodyPr/>
                    <a:lstStyle/>
                    <a:p>
                      <a:pPr algn="l" rtl="0" fontAlgn="auto"/>
                      <a:r>
                        <a:rPr lang="en-US" sz="1800" dirty="0">
                          <a:solidFill>
                            <a:schemeClr val="tx1"/>
                          </a:solidFill>
                          <a:effectLst/>
                        </a:rPr>
                        <a:t>IEEE SB UPM Sur (AETEL)</a:t>
                      </a:r>
                    </a:p>
                    <a:p>
                      <a:pPr algn="l" rtl="0" fontAlgn="auto"/>
                      <a:r>
                        <a:rPr lang="en-US" sz="1800" dirty="0">
                          <a:solidFill>
                            <a:schemeClr val="tx1"/>
                          </a:solidFill>
                          <a:effectLst/>
                        </a:rPr>
                        <a:t>Manuel Ballesteros</a:t>
                      </a:r>
                      <a:endParaRPr lang="en-US" sz="1800" dirty="0">
                        <a:solidFill>
                          <a:schemeClr val="tx1"/>
                        </a:solidFill>
                        <a:effectLst/>
                        <a:latin typeface="+mj-lt"/>
                      </a:endParaRPr>
                    </a:p>
                  </a:txBody>
                  <a:tcPr marL="39608" marR="39608" marT="19804" marB="19804" anchor="ctr"/>
                </a:tc>
                <a:extLst>
                  <a:ext uri="{0D108BD9-81ED-4DB2-BD59-A6C34878D82A}">
                    <a16:rowId xmlns:a16="http://schemas.microsoft.com/office/drawing/2014/main" val="3859505021"/>
                  </a:ext>
                </a:extLst>
              </a:tr>
            </a:tbl>
          </a:graphicData>
        </a:graphic>
      </p:graphicFrame>
    </p:spTree>
    <p:extLst>
      <p:ext uri="{BB962C8B-B14F-4D97-AF65-F5344CB8AC3E}">
        <p14:creationId xmlns:p14="http://schemas.microsoft.com/office/powerpoint/2010/main" val="20111668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3E2B89-3497-61C3-8DE6-A50B1101E24F}"/>
              </a:ext>
            </a:extLst>
          </p:cNvPr>
          <p:cNvPicPr>
            <a:picLocks noChangeAspect="1"/>
          </p:cNvPicPr>
          <p:nvPr/>
        </p:nvPicPr>
        <p:blipFill rotWithShape="1">
          <a:blip r:embed="rId2"/>
          <a:srcRect l="-1" t="30632" r="-1098"/>
          <a:stretch/>
        </p:blipFill>
        <p:spPr>
          <a:xfrm>
            <a:off x="2227007" y="2362200"/>
            <a:ext cx="7010400" cy="5105400"/>
          </a:xfrm>
          <a:prstGeom prst="rect">
            <a:avLst/>
          </a:prstGeom>
        </p:spPr>
      </p:pic>
      <p:pic>
        <p:nvPicPr>
          <p:cNvPr id="5" name="Imagen 12" descr="Esquemático&#10;&#10;Descripción generada automáticamente con confianza baja">
            <a:extLst>
              <a:ext uri="{FF2B5EF4-FFF2-40B4-BE49-F238E27FC236}">
                <a16:creationId xmlns:a16="http://schemas.microsoft.com/office/drawing/2014/main" id="{44A6DDC0-CD50-F00F-907A-37BD44C29E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4884" y="240502"/>
            <a:ext cx="2604351" cy="1804995"/>
          </a:xfrm>
          <a:prstGeom prst="rect">
            <a:avLst/>
          </a:prstGeom>
        </p:spPr>
      </p:pic>
      <p:pic>
        <p:nvPicPr>
          <p:cNvPr id="6" name="object 2">
            <a:extLst>
              <a:ext uri="{FF2B5EF4-FFF2-40B4-BE49-F238E27FC236}">
                <a16:creationId xmlns:a16="http://schemas.microsoft.com/office/drawing/2014/main" id="{FA25EE5D-23BC-B275-CAE2-53DEAC18A271}"/>
              </a:ext>
            </a:extLst>
          </p:cNvPr>
          <p:cNvPicPr/>
          <p:nvPr/>
        </p:nvPicPr>
        <p:blipFill rotWithShape="1">
          <a:blip r:embed="rId4" cstate="print"/>
          <a:srcRect b="34586"/>
          <a:stretch/>
        </p:blipFill>
        <p:spPr>
          <a:xfrm>
            <a:off x="6553200" y="762000"/>
            <a:ext cx="3365832" cy="1136902"/>
          </a:xfrm>
          <a:prstGeom prst="rect">
            <a:avLst/>
          </a:prstGeom>
        </p:spPr>
      </p:pic>
      <p:pic>
        <p:nvPicPr>
          <p:cNvPr id="8" name="Picture 7" descr="A blue and black logo&#10;&#10;Description automatically generated">
            <a:extLst>
              <a:ext uri="{FF2B5EF4-FFF2-40B4-BE49-F238E27FC236}">
                <a16:creationId xmlns:a16="http://schemas.microsoft.com/office/drawing/2014/main" id="{16B9CF96-DA8E-0913-26A1-C7AF35E892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4600" y="533400"/>
            <a:ext cx="3365832" cy="1898172"/>
          </a:xfrm>
          <a:prstGeom prst="rect">
            <a:avLst/>
          </a:prstGeom>
        </p:spPr>
      </p:pic>
    </p:spTree>
    <p:extLst>
      <p:ext uri="{BB962C8B-B14F-4D97-AF65-F5344CB8AC3E}">
        <p14:creationId xmlns:p14="http://schemas.microsoft.com/office/powerpoint/2010/main" val="17369115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88FF38-4AE0-4A87-AA96-98280459D0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B88FF38-4AE0-4A87-AA96-98280459D0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038E72CC-385E-4BD8-8999-AEE4C70B8352}"/>
              </a:ext>
            </a:extLst>
          </p:cNvPr>
          <p:cNvSpPr>
            <a:spLocks noGrp="1"/>
          </p:cNvSpPr>
          <p:nvPr>
            <p:ph type="ctrTitle"/>
          </p:nvPr>
        </p:nvSpPr>
        <p:spPr>
          <a:xfrm>
            <a:off x="769258" y="62662"/>
            <a:ext cx="5614988" cy="1854004"/>
          </a:xfrm>
        </p:spPr>
        <p:txBody>
          <a:bodyPr/>
          <a:lstStyle/>
          <a:p>
            <a:r>
              <a:rPr lang="en-US" dirty="0"/>
              <a:t>CONTACTO?</a:t>
            </a:r>
            <a:endParaRPr lang="en-US" noProof="0" dirty="0"/>
          </a:p>
        </p:txBody>
      </p:sp>
      <p:sp>
        <p:nvSpPr>
          <p:cNvPr id="3" name="Fußzeilenplatzhalter 2">
            <a:extLst>
              <a:ext uri="{FF2B5EF4-FFF2-40B4-BE49-F238E27FC236}">
                <a16:creationId xmlns:a16="http://schemas.microsoft.com/office/drawing/2014/main" id="{3CB52453-2706-425C-84EB-4C26B421A75B}"/>
              </a:ext>
            </a:extLst>
          </p:cNvPr>
          <p:cNvSpPr>
            <a:spLocks noGrp="1"/>
          </p:cNvSpPr>
          <p:nvPr>
            <p:ph type="ftr" sz="quarter" idx="11"/>
          </p:nvPr>
        </p:nvSpPr>
        <p:spPr/>
        <p:txBody>
          <a:bodyPr/>
          <a:lstStyle/>
          <a:p>
            <a:r>
              <a:rPr lang="de-DE" dirty="0"/>
              <a:t>Unrestricted © Siemens Gamesa Renewable Energy, 2024 | Manuel Ballesteros</a:t>
            </a:r>
            <a:endParaRPr lang="en-GB" dirty="0"/>
          </a:p>
        </p:txBody>
      </p:sp>
      <p:sp>
        <p:nvSpPr>
          <p:cNvPr id="34" name="Fußzeilenplatzhalter 2">
            <a:extLst>
              <a:ext uri="{FF2B5EF4-FFF2-40B4-BE49-F238E27FC236}">
                <a16:creationId xmlns:a16="http://schemas.microsoft.com/office/drawing/2014/main" id="{AFAF76F7-6CD3-E3BD-53E4-17CCCC47DC0E}"/>
              </a:ext>
            </a:extLst>
          </p:cNvPr>
          <p:cNvSpPr txBox="1">
            <a:spLocks/>
          </p:cNvSpPr>
          <p:nvPr/>
        </p:nvSpPr>
        <p:spPr>
          <a:xfrm>
            <a:off x="627062" y="6526799"/>
            <a:ext cx="5841612" cy="331200"/>
          </a:xfrm>
          <a:prstGeom prst="rect">
            <a:avLst/>
          </a:prstGeom>
        </p:spPr>
        <p:txBody>
          <a:bodyPr vert="horz" lIns="0" tIns="0" rIns="482400" bIns="0" rtlCol="0" anchor="t"/>
          <a:lstStyle>
            <a:defPPr>
              <a:defRPr lang="de-DE"/>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t>Siemens </a:t>
            </a:r>
            <a:r>
              <a:rPr lang="de-DE" dirty="0" err="1"/>
              <a:t>Gamesa</a:t>
            </a:r>
            <a:r>
              <a:rPr lang="de-DE" dirty="0"/>
              <a:t> </a:t>
            </a:r>
            <a:r>
              <a:rPr lang="de-DE" dirty="0" err="1"/>
              <a:t>is</a:t>
            </a:r>
            <a:r>
              <a:rPr lang="de-DE" dirty="0"/>
              <a:t> a </a:t>
            </a:r>
            <a:r>
              <a:rPr lang="en-US" dirty="0"/>
              <a:t>trademark licensed by Siemens AG.</a:t>
            </a:r>
            <a:endParaRPr lang="en-GB" dirty="0"/>
          </a:p>
        </p:txBody>
      </p:sp>
      <p:sp>
        <p:nvSpPr>
          <p:cNvPr id="35" name="Subhead">
            <a:extLst>
              <a:ext uri="{FF2B5EF4-FFF2-40B4-BE49-F238E27FC236}">
                <a16:creationId xmlns:a16="http://schemas.microsoft.com/office/drawing/2014/main" id="{5357ED2D-16CD-6348-F24F-E70BBCC8E741}"/>
              </a:ext>
            </a:extLst>
          </p:cNvPr>
          <p:cNvSpPr txBox="1">
            <a:spLocks/>
          </p:cNvSpPr>
          <p:nvPr/>
        </p:nvSpPr>
        <p:spPr>
          <a:xfrm>
            <a:off x="759262" y="2766106"/>
            <a:ext cx="5841612" cy="899252"/>
          </a:xfrm>
          <a:prstGeom prst="rect">
            <a:avLst/>
          </a:prstGeom>
        </p:spPr>
        <p:txBody>
          <a:bodyPr vert="horz" lIns="0" tIns="108000" rIns="0" bIns="0" rtlCol="0" anchor="t">
            <a:noAutofit/>
          </a:bodyPr>
          <a:lstStyle>
            <a:lvl1pPr marL="0" indent="0" algn="l" defTabSz="914400" rtl="0" eaLnBrk="1" latinLnBrk="0" hangingPunct="1">
              <a:lnSpc>
                <a:spcPct val="110000"/>
              </a:lnSpc>
              <a:spcBef>
                <a:spcPts val="0"/>
              </a:spcBef>
              <a:buFont typeface="Arial" panose="020B0604020202020204" pitchFamily="34" charset="0"/>
              <a:buNone/>
              <a:defRPr sz="1500" b="0" kern="1200">
                <a:solidFill>
                  <a:schemeClr val="tx1"/>
                </a:solidFill>
                <a:latin typeface="+mn-lt"/>
                <a:ea typeface="+mn-ea"/>
                <a:cs typeface="+mn-cs"/>
              </a:defRPr>
            </a:lvl1pPr>
            <a:lvl2pPr marL="457200" indent="0" algn="ctr" defTabSz="914400" rtl="0" eaLnBrk="1" latinLnBrk="0" hangingPunct="1">
              <a:lnSpc>
                <a:spcPct val="11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0"/>
              </a:spcBef>
              <a:buClr>
                <a:schemeClr val="tx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0"/>
              </a:spcBef>
              <a:buClr>
                <a:schemeClr val="tx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10000"/>
              </a:lnSpc>
              <a:spcBef>
                <a:spcPts val="0"/>
              </a:spcBef>
              <a:buClr>
                <a:schemeClr val="tx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dirty="0"/>
              <a:t>Manuel Ballesteros</a:t>
            </a:r>
          </a:p>
          <a:p>
            <a:r>
              <a:rPr lang="en-US" sz="2000" dirty="0"/>
              <a:t>ICS/OT Cybersecurity Engineer Siemens Gamesa</a:t>
            </a:r>
          </a:p>
        </p:txBody>
      </p:sp>
      <p:sp>
        <p:nvSpPr>
          <p:cNvPr id="5" name="Subhead">
            <a:extLst>
              <a:ext uri="{FF2B5EF4-FFF2-40B4-BE49-F238E27FC236}">
                <a16:creationId xmlns:a16="http://schemas.microsoft.com/office/drawing/2014/main" id="{8E27AC6C-FA5B-562A-5766-EF7BF00511B3}"/>
              </a:ext>
            </a:extLst>
          </p:cNvPr>
          <p:cNvSpPr txBox="1">
            <a:spLocks/>
          </p:cNvSpPr>
          <p:nvPr/>
        </p:nvSpPr>
        <p:spPr>
          <a:xfrm>
            <a:off x="838200" y="3962400"/>
            <a:ext cx="6096000" cy="2209800"/>
          </a:xfrm>
          <a:prstGeom prst="rect">
            <a:avLst/>
          </a:prstGeom>
        </p:spPr>
        <p:txBody>
          <a:bodyPr vert="horz" lIns="0" tIns="108000" rIns="0" bIns="0" rtlCol="0" anchor="t">
            <a:noAutofit/>
          </a:bodyPr>
          <a:lstStyle>
            <a:lvl1pPr marL="0" indent="0" algn="l" defTabSz="914400" rtl="0" eaLnBrk="1" latinLnBrk="0" hangingPunct="1">
              <a:lnSpc>
                <a:spcPct val="110000"/>
              </a:lnSpc>
              <a:spcBef>
                <a:spcPts val="0"/>
              </a:spcBef>
              <a:buFont typeface="Arial" panose="020B0604020202020204" pitchFamily="34" charset="0"/>
              <a:buNone/>
              <a:defRPr sz="1500" b="0" kern="1200">
                <a:solidFill>
                  <a:schemeClr val="tx1"/>
                </a:solidFill>
                <a:latin typeface="+mn-lt"/>
                <a:ea typeface="+mn-ea"/>
                <a:cs typeface="+mn-cs"/>
              </a:defRPr>
            </a:lvl1pPr>
            <a:lvl2pPr marL="457200" indent="0" algn="ctr" defTabSz="914400" rtl="0" eaLnBrk="1" latinLnBrk="0" hangingPunct="1">
              <a:lnSpc>
                <a:spcPct val="11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0"/>
              </a:spcBef>
              <a:buClr>
                <a:schemeClr val="tx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0"/>
              </a:spcBef>
              <a:buClr>
                <a:schemeClr val="tx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10000"/>
              </a:lnSpc>
              <a:spcBef>
                <a:spcPts val="0"/>
              </a:spcBef>
              <a:buClr>
                <a:schemeClr val="tx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b="1" dirty="0"/>
              <a:t>LinkedIn</a:t>
            </a:r>
          </a:p>
          <a:p>
            <a:r>
              <a:rPr lang="en-US" sz="2000" dirty="0"/>
              <a:t>https://www.linkedin.com/in/manuel-ballesteros</a:t>
            </a:r>
            <a:r>
              <a:rPr lang="en-US" sz="2000" b="1" dirty="0"/>
              <a:t>/</a:t>
            </a:r>
          </a:p>
          <a:p>
            <a:r>
              <a:rPr lang="en-US" sz="2000" b="1" dirty="0" err="1"/>
              <a:t>Correo</a:t>
            </a:r>
            <a:endParaRPr lang="en-US" sz="2000" b="1" dirty="0"/>
          </a:p>
          <a:p>
            <a:r>
              <a:rPr lang="en-US" sz="2000" dirty="0"/>
              <a:t>m.ballesteros.carballo@ieee.org</a:t>
            </a:r>
          </a:p>
          <a:p>
            <a:r>
              <a:rPr lang="en-US" sz="2000" b="1" dirty="0" err="1"/>
              <a:t>Github</a:t>
            </a:r>
            <a:r>
              <a:rPr lang="en-US" sz="2000" b="1" dirty="0"/>
              <a:t> – </a:t>
            </a:r>
            <a:r>
              <a:rPr lang="en-US" sz="2000" dirty="0"/>
              <a:t>Esta </a:t>
            </a:r>
            <a:r>
              <a:rPr lang="en-US" sz="2000" dirty="0" err="1"/>
              <a:t>presentación</a:t>
            </a:r>
            <a:endParaRPr lang="en-US" sz="2000" dirty="0"/>
          </a:p>
        </p:txBody>
      </p:sp>
    </p:spTree>
    <p:extLst>
      <p:ext uri="{BB962C8B-B14F-4D97-AF65-F5344CB8AC3E}">
        <p14:creationId xmlns:p14="http://schemas.microsoft.com/office/powerpoint/2010/main" val="1690381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3 Marcador de pie de página"/>
          <p:cNvSpPr>
            <a:spLocks noGrp="1"/>
          </p:cNvSpPr>
          <p:nvPr>
            <p:ph type="ftr" sz="quarter" idx="10"/>
          </p:nvPr>
        </p:nvSpPr>
        <p:spPr>
          <a:noFill/>
        </p:spPr>
        <p:txBody>
          <a:bodyPr/>
          <a:lstStyle>
            <a:lvl1pPr eaLnBrk="0" hangingPunct="0">
              <a:spcBef>
                <a:spcPct val="20000"/>
              </a:spcBef>
              <a:buChar char="o"/>
              <a:defRPr sz="1600">
                <a:solidFill>
                  <a:schemeClr val="tx1"/>
                </a:solidFill>
                <a:latin typeface="Tahoma" pitchFamily="34" charset="0"/>
                <a:cs typeface="Arial" charset="0"/>
              </a:defRPr>
            </a:lvl1pPr>
            <a:lvl2pPr marL="742931" indent="-285743" eaLnBrk="0" hangingPunct="0">
              <a:spcBef>
                <a:spcPct val="20000"/>
              </a:spcBef>
              <a:buChar char="•"/>
              <a:defRPr sz="1400">
                <a:solidFill>
                  <a:schemeClr val="tx1"/>
                </a:solidFill>
                <a:latin typeface="Tahoma" pitchFamily="34" charset="0"/>
                <a:cs typeface="Arial" charset="0"/>
              </a:defRPr>
            </a:lvl2pPr>
            <a:lvl3pPr marL="1142972" indent="-228594" eaLnBrk="0" hangingPunct="0">
              <a:spcBef>
                <a:spcPct val="20000"/>
              </a:spcBef>
              <a:buAutoNum type="arabicPeriod"/>
              <a:defRPr sz="1200">
                <a:solidFill>
                  <a:schemeClr val="tx1"/>
                </a:solidFill>
                <a:latin typeface="Tahoma" pitchFamily="34" charset="0"/>
                <a:cs typeface="Arial" charset="0"/>
              </a:defRPr>
            </a:lvl3pPr>
            <a:lvl4pPr marL="1600160" indent="-228594" eaLnBrk="0" hangingPunct="0">
              <a:spcBef>
                <a:spcPct val="20000"/>
              </a:spcBef>
              <a:buFont typeface="Wingdings" pitchFamily="2" charset="2"/>
              <a:buChar char="§"/>
              <a:defRPr sz="1200">
                <a:solidFill>
                  <a:schemeClr val="tx1"/>
                </a:solidFill>
                <a:latin typeface="Tahoma" pitchFamily="34" charset="0"/>
                <a:cs typeface="Arial" charset="0"/>
              </a:defRPr>
            </a:lvl4pPr>
            <a:lvl5pPr marL="2057348" indent="-228594" eaLnBrk="0" hangingPunct="0">
              <a:spcBef>
                <a:spcPct val="20000"/>
              </a:spcBef>
              <a:buChar char="»"/>
              <a:defRPr sz="1200">
                <a:solidFill>
                  <a:schemeClr val="tx1"/>
                </a:solidFill>
                <a:latin typeface="Tahoma" pitchFamily="34" charset="0"/>
                <a:cs typeface="Arial" charset="0"/>
              </a:defRPr>
            </a:lvl5pPr>
            <a:lvl6pPr marL="2514537" indent="-228594" eaLnBrk="0" fontAlgn="base" hangingPunct="0">
              <a:spcBef>
                <a:spcPct val="20000"/>
              </a:spcBef>
              <a:spcAft>
                <a:spcPct val="0"/>
              </a:spcAft>
              <a:buChar char="»"/>
              <a:defRPr sz="1200">
                <a:solidFill>
                  <a:schemeClr val="tx1"/>
                </a:solidFill>
                <a:latin typeface="Tahoma" pitchFamily="34" charset="0"/>
                <a:cs typeface="Arial" charset="0"/>
              </a:defRPr>
            </a:lvl6pPr>
            <a:lvl7pPr marL="2971726" indent="-228594" eaLnBrk="0" fontAlgn="base" hangingPunct="0">
              <a:spcBef>
                <a:spcPct val="20000"/>
              </a:spcBef>
              <a:spcAft>
                <a:spcPct val="0"/>
              </a:spcAft>
              <a:buChar char="»"/>
              <a:defRPr sz="1200">
                <a:solidFill>
                  <a:schemeClr val="tx1"/>
                </a:solidFill>
                <a:latin typeface="Tahoma" pitchFamily="34" charset="0"/>
                <a:cs typeface="Arial" charset="0"/>
              </a:defRPr>
            </a:lvl7pPr>
            <a:lvl8pPr marL="3428915" indent="-228594" eaLnBrk="0" fontAlgn="base" hangingPunct="0">
              <a:spcBef>
                <a:spcPct val="20000"/>
              </a:spcBef>
              <a:spcAft>
                <a:spcPct val="0"/>
              </a:spcAft>
              <a:buChar char="»"/>
              <a:defRPr sz="1200">
                <a:solidFill>
                  <a:schemeClr val="tx1"/>
                </a:solidFill>
                <a:latin typeface="Tahoma" pitchFamily="34" charset="0"/>
                <a:cs typeface="Arial" charset="0"/>
              </a:defRPr>
            </a:lvl8pPr>
            <a:lvl9pPr marL="3886103" indent="-228594" eaLnBrk="0" fontAlgn="base" hangingPunct="0">
              <a:spcBef>
                <a:spcPct val="20000"/>
              </a:spcBef>
              <a:spcAft>
                <a:spcPct val="0"/>
              </a:spcAft>
              <a:buChar char="»"/>
              <a:defRPr sz="1200">
                <a:solidFill>
                  <a:schemeClr val="tx1"/>
                </a:solidFill>
                <a:latin typeface="Tahoma" pitchFamily="34" charset="0"/>
                <a:cs typeface="Arial" charset="0"/>
              </a:defRPr>
            </a:lvl9pPr>
          </a:lstStyle>
          <a:p>
            <a:pPr eaLnBrk="1" hangingPunct="1">
              <a:spcBef>
                <a:spcPct val="0"/>
              </a:spcBef>
              <a:buFontTx/>
              <a:buNone/>
            </a:pPr>
            <a:endParaRPr lang="es-ES" altLang="es-ES" sz="800">
              <a:solidFill>
                <a:schemeClr val="bg1"/>
              </a:solidFill>
            </a:endParaRPr>
          </a:p>
        </p:txBody>
      </p:sp>
      <p:pic>
        <p:nvPicPr>
          <p:cNvPr id="82947" name="Picture 8" descr="GAMESA-2360_clean_baj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10231"/>
            <a:ext cx="12347557" cy="930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948" name="Rectangle 6"/>
          <p:cNvSpPr>
            <a:spLocks noGrp="1" noChangeArrowheads="1"/>
          </p:cNvSpPr>
          <p:nvPr>
            <p:ph type="title"/>
          </p:nvPr>
        </p:nvSpPr>
        <p:spPr bwMode="auto">
          <a:xfrm>
            <a:off x="4367213" y="554038"/>
            <a:ext cx="7193415" cy="11430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eaLnBrk="1" hangingPunct="1"/>
            <a:br>
              <a:rPr lang="en-GB" altLang="es-ES" sz="6000" b="1" dirty="0">
                <a:solidFill>
                  <a:schemeClr val="bg1"/>
                </a:solidFill>
              </a:rPr>
            </a:br>
            <a:r>
              <a:rPr lang="en-GB" altLang="es-ES" sz="6000" b="1" dirty="0">
                <a:solidFill>
                  <a:schemeClr val="bg1"/>
                </a:solidFill>
              </a:rPr>
              <a:t>Gracias </a:t>
            </a:r>
            <a:r>
              <a:rPr lang="en-GB" altLang="es-ES" sz="6000" b="1" dirty="0" err="1">
                <a:solidFill>
                  <a:schemeClr val="bg1"/>
                </a:solidFill>
              </a:rPr>
              <a:t>por</a:t>
            </a:r>
            <a:r>
              <a:rPr lang="en-GB" altLang="es-ES" sz="6000" b="1" dirty="0">
                <a:solidFill>
                  <a:schemeClr val="bg1"/>
                </a:solidFill>
              </a:rPr>
              <a:t> </a:t>
            </a:r>
            <a:r>
              <a:rPr lang="en-GB" altLang="es-ES" sz="6000" b="1" dirty="0" err="1">
                <a:solidFill>
                  <a:schemeClr val="bg1"/>
                </a:solidFill>
              </a:rPr>
              <a:t>vuestra</a:t>
            </a:r>
            <a:r>
              <a:rPr lang="en-GB" altLang="es-ES" sz="6000" b="1" dirty="0">
                <a:solidFill>
                  <a:schemeClr val="bg1"/>
                </a:solidFill>
              </a:rPr>
              <a:t> </a:t>
            </a:r>
            <a:r>
              <a:rPr lang="en-GB" altLang="es-ES" sz="6000" b="1" dirty="0" err="1">
                <a:solidFill>
                  <a:schemeClr val="bg1"/>
                </a:solidFill>
              </a:rPr>
              <a:t>atención</a:t>
            </a:r>
            <a:endParaRPr lang="en-GB" altLang="es-ES" sz="6000" b="1" dirty="0">
              <a:solidFill>
                <a:schemeClr val="bg1"/>
              </a:solidFill>
            </a:endParaRPr>
          </a:p>
        </p:txBody>
      </p:sp>
      <p:pic>
        <p:nvPicPr>
          <p:cNvPr id="2" name="Imagen 1">
            <a:extLst>
              <a:ext uri="{FF2B5EF4-FFF2-40B4-BE49-F238E27FC236}">
                <a16:creationId xmlns:a16="http://schemas.microsoft.com/office/drawing/2014/main" id="{42D43E8A-6B7A-030A-2A8B-65B5439E252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5" t="23794" r="381" b="27331"/>
          <a:stretch/>
        </p:blipFill>
        <p:spPr bwMode="auto">
          <a:xfrm>
            <a:off x="6503436" y="5105225"/>
            <a:ext cx="5602839" cy="1538462"/>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1241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descr="No hay texto alternativo para esta imagen">
            <a:extLst>
              <a:ext uri="{FF2B5EF4-FFF2-40B4-BE49-F238E27FC236}">
                <a16:creationId xmlns:a16="http://schemas.microsoft.com/office/drawing/2014/main" id="{60C75D9E-BED1-4444-C6D3-7D23E6226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1247" y="-838200"/>
            <a:ext cx="11703100" cy="1144350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kt 7" hidden="1">
            <a:extLst>
              <a:ext uri="{FF2B5EF4-FFF2-40B4-BE49-F238E27FC236}">
                <a16:creationId xmlns:a16="http://schemas.microsoft.com/office/drawing/2014/main" id="{F2149A9B-BC51-409E-9CC5-C3C76B6CF3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kt 7" hidden="1">
                        <a:extLst>
                          <a:ext uri="{FF2B5EF4-FFF2-40B4-BE49-F238E27FC236}">
                            <a16:creationId xmlns:a16="http://schemas.microsoft.com/office/drawing/2014/main" id="{F2149A9B-BC51-409E-9CC5-C3C76B6CF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BB4455ED-15D6-E039-14A0-D9422095B0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9200" y="894999"/>
            <a:ext cx="9296400" cy="2716006"/>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a:extLst>
              <a:ext uri="{FF2B5EF4-FFF2-40B4-BE49-F238E27FC236}">
                <a16:creationId xmlns:a16="http://schemas.microsoft.com/office/drawing/2014/main" id="{FE79E75C-EEB2-46E8-E214-ABB8D41A7BE5}"/>
              </a:ext>
            </a:extLst>
          </p:cNvPr>
          <p:cNvSpPr txBox="1">
            <a:spLocks/>
          </p:cNvSpPr>
          <p:nvPr/>
        </p:nvSpPr>
        <p:spPr bwMode="gray">
          <a:xfrm>
            <a:off x="152401" y="152401"/>
            <a:ext cx="9659938" cy="1414800"/>
          </a:xfrm>
          <a:prstGeom prst="rect">
            <a:avLst/>
          </a:prstGeom>
        </p:spPr>
        <p:txBody>
          <a:bodyPr vert="horz" lIns="626400" tIns="378000" rIns="0" bIns="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ysClr val="window" lastClr="FFFFFF"/>
                </a:solidFill>
                <a:effectLst/>
                <a:uLnTx/>
                <a:uFillTx/>
                <a:latin typeface="Arial"/>
                <a:ea typeface="+mj-ea"/>
                <a:cs typeface="+mj-cs"/>
              </a:rPr>
              <a:t>Fundamentos</a:t>
            </a:r>
            <a:r>
              <a:rPr kumimoji="0" lang="en-US" sz="4000" b="1" i="0" u="none" strike="noStrike" kern="1200" cap="none" spc="0" normalizeH="0" baseline="0" noProof="0" dirty="0">
                <a:ln>
                  <a:noFill/>
                </a:ln>
                <a:solidFill>
                  <a:sysClr val="window" lastClr="FFFFFF"/>
                </a:solidFill>
                <a:effectLst/>
                <a:uLnTx/>
                <a:uFillTx/>
                <a:latin typeface="Arial"/>
                <a:ea typeface="+mj-ea"/>
                <a:cs typeface="+mj-cs"/>
              </a:rPr>
              <a:t> Energía</a:t>
            </a:r>
          </a:p>
        </p:txBody>
      </p:sp>
      <p:sp>
        <p:nvSpPr>
          <p:cNvPr id="13" name="Fußzeilenplatzhalter 4">
            <a:extLst>
              <a:ext uri="{FF2B5EF4-FFF2-40B4-BE49-F238E27FC236}">
                <a16:creationId xmlns:a16="http://schemas.microsoft.com/office/drawing/2014/main" id="{13CD67A3-519F-8036-0A47-EC6310FC805D}"/>
              </a:ext>
            </a:extLst>
          </p:cNvPr>
          <p:cNvSpPr txBox="1">
            <a:spLocks/>
          </p:cNvSpPr>
          <p:nvPr/>
        </p:nvSpPr>
        <p:spPr>
          <a:xfrm>
            <a:off x="6381599" y="6224999"/>
            <a:ext cx="5950800" cy="331200"/>
          </a:xfrm>
          <a:prstGeom prst="rect">
            <a:avLst/>
          </a:prstGeom>
        </p:spPr>
        <p:txBody>
          <a:bodyPr vert="horz" lIns="0" tIns="0" rIns="835200" bIns="0" rtlCol="0" anchor="t"/>
          <a:lstStyle>
            <a:defPPr>
              <a:defRPr lang="es-ES"/>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Unrestricted © Siemens Gamesa Renewable Energy, 2024 | Manuel Ballesteros</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121653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0C8E51-A84C-4F80-90A0-61374E8AEC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7D0C8E51-A84C-4F80-90A0-61374E8AE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CA66AA06-EE0E-4C17-B719-1E962E308FC6}"/>
              </a:ext>
            </a:extLst>
          </p:cNvPr>
          <p:cNvSpPr>
            <a:spLocks noGrp="1"/>
          </p:cNvSpPr>
          <p:nvPr>
            <p:ph type="title"/>
          </p:nvPr>
        </p:nvSpPr>
        <p:spPr bwMode="gray"/>
        <p:txBody>
          <a:bodyPr vert="horz"/>
          <a:lstStyle/>
          <a:p>
            <a:r>
              <a:rPr lang="en-US" noProof="0" dirty="0" err="1"/>
              <a:t>Fundamentos</a:t>
            </a:r>
            <a:r>
              <a:rPr lang="en-US" noProof="0" dirty="0"/>
              <a:t> </a:t>
            </a:r>
            <a:r>
              <a:rPr lang="en-US" noProof="0" dirty="0" err="1"/>
              <a:t>Energia</a:t>
            </a:r>
            <a:r>
              <a:rPr lang="en-US" noProof="0" dirty="0"/>
              <a:t> </a:t>
            </a:r>
            <a:r>
              <a:rPr lang="en-US" noProof="0" dirty="0" err="1"/>
              <a:t>Eólica</a:t>
            </a:r>
            <a:endParaRPr lang="en-US" noProof="0" dirty="0"/>
          </a:p>
        </p:txBody>
      </p:sp>
      <p:sp>
        <p:nvSpPr>
          <p:cNvPr id="5" name="Fußzeilenplatzhalter 4">
            <a:extLst>
              <a:ext uri="{FF2B5EF4-FFF2-40B4-BE49-F238E27FC236}">
                <a16:creationId xmlns:a16="http://schemas.microsoft.com/office/drawing/2014/main" id="{A632F47C-07F5-42CB-AF3F-89691D15C1B0}"/>
              </a:ext>
            </a:extLst>
          </p:cNvPr>
          <p:cNvSpPr>
            <a:spLocks noGrp="1"/>
          </p:cNvSpPr>
          <p:nvPr>
            <p:ph type="ftr" sz="quarter" idx="12"/>
          </p:nvPr>
        </p:nvSpPr>
        <p:spPr/>
        <p:txBody>
          <a:bodyPr/>
          <a:lstStyle/>
          <a:p>
            <a:r>
              <a:rPr lang="de-DE" dirty="0"/>
              <a:t>Unrestricted © Siemens Gamesa Renewable Energy, 2024 | Manuel Ballesteros</a:t>
            </a:r>
            <a:endParaRPr lang="en-GB" dirty="0"/>
          </a:p>
        </p:txBody>
      </p:sp>
      <p:pic>
        <p:nvPicPr>
          <p:cNvPr id="3" name="Imagen 2" descr="Interfaz de usuario gráfica, Aplicación&#10;&#10;Descripción generada automáticamente">
            <a:extLst>
              <a:ext uri="{FF2B5EF4-FFF2-40B4-BE49-F238E27FC236}">
                <a16:creationId xmlns:a16="http://schemas.microsoft.com/office/drawing/2014/main" id="{9CAF5A1C-660B-01A1-EEC4-770F9B27B02F}"/>
              </a:ext>
            </a:extLst>
          </p:cNvPr>
          <p:cNvPicPr>
            <a:picLocks noChangeAspect="1"/>
          </p:cNvPicPr>
          <p:nvPr/>
        </p:nvPicPr>
        <p:blipFill rotWithShape="1">
          <a:blip r:embed="rId6">
            <a:extLst>
              <a:ext uri="{28A0092B-C50C-407E-A947-70E740481C1C}">
                <a14:useLocalDpi xmlns:a14="http://schemas.microsoft.com/office/drawing/2010/main" val="0"/>
              </a:ext>
            </a:extLst>
          </a:blip>
          <a:srcRect r="18960" b="2105"/>
          <a:stretch/>
        </p:blipFill>
        <p:spPr bwMode="auto">
          <a:xfrm>
            <a:off x="7706144" y="15949"/>
            <a:ext cx="3677828" cy="6353172"/>
          </a:xfrm>
          <a:prstGeom prst="rect">
            <a:avLst/>
          </a:prstGeom>
          <a:noFill/>
          <a:ln>
            <a:noFill/>
          </a:ln>
        </p:spPr>
      </p:pic>
      <p:pic>
        <p:nvPicPr>
          <p:cNvPr id="4" name="Imagen 3" descr="Diagrama&#10;&#10;Descripción generada automáticamente con confianza media">
            <a:extLst>
              <a:ext uri="{FF2B5EF4-FFF2-40B4-BE49-F238E27FC236}">
                <a16:creationId xmlns:a16="http://schemas.microsoft.com/office/drawing/2014/main" id="{2CF1A224-1529-8F41-C6F5-B6A34F1BF3E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609600" y="1598497"/>
            <a:ext cx="7900433" cy="3950217"/>
          </a:xfrm>
          <a:prstGeom prst="rect">
            <a:avLst/>
          </a:prstGeom>
          <a:noFill/>
          <a:ln>
            <a:noFill/>
          </a:ln>
        </p:spPr>
      </p:pic>
      <p:sp>
        <p:nvSpPr>
          <p:cNvPr id="6" name="CuadroTexto 5">
            <a:extLst>
              <a:ext uri="{FF2B5EF4-FFF2-40B4-BE49-F238E27FC236}">
                <a16:creationId xmlns:a16="http://schemas.microsoft.com/office/drawing/2014/main" id="{DA7E5104-2A15-F0CB-4EA4-36ACB0DE11A8}"/>
              </a:ext>
            </a:extLst>
          </p:cNvPr>
          <p:cNvSpPr txBox="1"/>
          <p:nvPr/>
        </p:nvSpPr>
        <p:spPr>
          <a:xfrm>
            <a:off x="1198246" y="6011331"/>
            <a:ext cx="7094778" cy="715581"/>
          </a:xfrm>
          <a:prstGeom prst="rect">
            <a:avLst/>
          </a:prstGeom>
          <a:noFill/>
        </p:spPr>
        <p:txBody>
          <a:bodyPr wrap="square" rtlCol="0">
            <a:spAutoFit/>
          </a:bodyPr>
          <a:lstStyle/>
          <a:p>
            <a:r>
              <a:rPr lang="en-US" sz="1350" i="1" dirty="0">
                <a:solidFill>
                  <a:schemeClr val="bg1">
                    <a:lumMod val="50000"/>
                  </a:schemeClr>
                </a:solidFill>
              </a:rPr>
              <a:t>Fuente : Wind energy engineering: A handbook for onshore and offshore wind turbines </a:t>
            </a:r>
            <a:br>
              <a:rPr lang="en-US" sz="1350" i="1" dirty="0">
                <a:solidFill>
                  <a:schemeClr val="bg1">
                    <a:lumMod val="50000"/>
                  </a:schemeClr>
                </a:solidFill>
              </a:rPr>
            </a:br>
            <a:r>
              <a:rPr lang="en-US" sz="1350" i="1" dirty="0">
                <a:solidFill>
                  <a:schemeClr val="bg1">
                    <a:lumMod val="50000"/>
                  </a:schemeClr>
                </a:solidFill>
              </a:rPr>
              <a:t>Fuente: https://en.wikipedia.org/wiki/Wind_turbine_design</a:t>
            </a:r>
            <a:br>
              <a:rPr lang="en-US" sz="1350" i="1" dirty="0">
                <a:solidFill>
                  <a:schemeClr val="bg1">
                    <a:lumMod val="50000"/>
                  </a:schemeClr>
                </a:solidFill>
              </a:rPr>
            </a:br>
            <a:endParaRPr lang="en-US" sz="1350" i="1" dirty="0">
              <a:solidFill>
                <a:schemeClr val="bg1">
                  <a:lumMod val="50000"/>
                </a:schemeClr>
              </a:solidFill>
            </a:endParaRPr>
          </a:p>
        </p:txBody>
      </p:sp>
    </p:spTree>
    <p:extLst>
      <p:ext uri="{BB962C8B-B14F-4D97-AF65-F5344CB8AC3E}">
        <p14:creationId xmlns:p14="http://schemas.microsoft.com/office/powerpoint/2010/main" val="2172303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BC96554-8CD5-4176-8706-54DC649D7C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DBC96554-8CD5-4176-8706-54DC649D7C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a:extLst>
              <a:ext uri="{FF2B5EF4-FFF2-40B4-BE49-F238E27FC236}">
                <a16:creationId xmlns:a16="http://schemas.microsoft.com/office/drawing/2014/main" id="{DA313663-E1C9-49BE-85AF-B358BBBBF906}"/>
              </a:ext>
            </a:extLst>
          </p:cNvPr>
          <p:cNvPicPr>
            <a:picLocks noGrp="1" noChangeAspect="1"/>
          </p:cNvPicPr>
          <p:nvPr>
            <p:ph type="pic" sz="quarter" idx="10"/>
          </p:nvPr>
        </p:nvPicPr>
        <p:blipFill rotWithShape="1">
          <a:blip r:embed="rId6" cstate="email">
            <a:extLst>
              <a:ext uri="{28A0092B-C50C-407E-A947-70E740481C1C}">
                <a14:useLocalDpi xmlns:a14="http://schemas.microsoft.com/office/drawing/2010/main"/>
              </a:ext>
            </a:extLst>
          </a:blip>
          <a:srcRect/>
          <a:stretch/>
        </p:blipFill>
        <p:spPr bwMode="gray">
          <a:xfrm>
            <a:off x="-1" y="0"/>
            <a:ext cx="12192002" cy="6858000"/>
          </a:xfrm>
        </p:spPr>
      </p:pic>
      <p:sp>
        <p:nvSpPr>
          <p:cNvPr id="2" name="Title">
            <a:extLst>
              <a:ext uri="{FF2B5EF4-FFF2-40B4-BE49-F238E27FC236}">
                <a16:creationId xmlns:a16="http://schemas.microsoft.com/office/drawing/2014/main" id="{CA66AA06-EE0E-4C17-B719-1E962E308FC6}"/>
              </a:ext>
            </a:extLst>
          </p:cNvPr>
          <p:cNvSpPr>
            <a:spLocks noGrp="1"/>
          </p:cNvSpPr>
          <p:nvPr>
            <p:ph type="title"/>
          </p:nvPr>
        </p:nvSpPr>
        <p:spPr bwMode="gray">
          <a:xfrm>
            <a:off x="6350" y="4798"/>
            <a:ext cx="6235700" cy="5873715"/>
          </a:xfrm>
        </p:spPr>
        <p:txBody>
          <a:bodyPr vert="horz"/>
          <a:lstStyle/>
          <a:p>
            <a:r>
              <a:rPr lang="en-US" noProof="0" dirty="0"/>
              <a:t>Dos </a:t>
            </a:r>
            <a:r>
              <a:rPr lang="en-US" noProof="0" dirty="0" err="1"/>
              <a:t>modalidades</a:t>
            </a:r>
            <a:br>
              <a:rPr lang="en-US" noProof="0" dirty="0"/>
            </a:br>
            <a:r>
              <a:rPr lang="en-US" noProof="0" dirty="0"/>
              <a:t>Onshore y Offshore</a:t>
            </a:r>
          </a:p>
        </p:txBody>
      </p:sp>
      <p:sp>
        <p:nvSpPr>
          <p:cNvPr id="6" name="Fußzeilenplatzhalter 5">
            <a:extLst>
              <a:ext uri="{FF2B5EF4-FFF2-40B4-BE49-F238E27FC236}">
                <a16:creationId xmlns:a16="http://schemas.microsoft.com/office/drawing/2014/main" id="{29C2405A-73E3-40F1-892B-06B26B5ABD3C}"/>
              </a:ext>
            </a:extLst>
          </p:cNvPr>
          <p:cNvSpPr>
            <a:spLocks noGrp="1"/>
          </p:cNvSpPr>
          <p:nvPr>
            <p:ph type="ftr" sz="quarter" idx="12"/>
          </p:nvPr>
        </p:nvSpPr>
        <p:spPr/>
        <p:txBody>
          <a:bodyPr/>
          <a:lstStyle/>
          <a:p>
            <a:r>
              <a:rPr lang="de-DE" dirty="0"/>
              <a:t>Unrestricted © Siemens Gamesa Renewable Energy, 2024 | Manuel Ballesteros</a:t>
            </a:r>
            <a:endParaRPr lang="en-GB" dirty="0"/>
          </a:p>
        </p:txBody>
      </p:sp>
    </p:spTree>
    <p:extLst>
      <p:ext uri="{BB962C8B-B14F-4D97-AF65-F5344CB8AC3E}">
        <p14:creationId xmlns:p14="http://schemas.microsoft.com/office/powerpoint/2010/main" val="4144048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149A9B-BC51-409E-9CC5-C3C76B6CF3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kt 7" hidden="1">
                        <a:extLst>
                          <a:ext uri="{FF2B5EF4-FFF2-40B4-BE49-F238E27FC236}">
                            <a16:creationId xmlns:a16="http://schemas.microsoft.com/office/drawing/2014/main" id="{F2149A9B-BC51-409E-9CC5-C3C76B6CF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head"/>
          <p:cNvSpPr>
            <a:spLocks noGrp="1"/>
          </p:cNvSpPr>
          <p:nvPr>
            <p:ph type="subTitle" idx="1"/>
          </p:nvPr>
        </p:nvSpPr>
        <p:spPr bwMode="black"/>
        <p:txBody>
          <a:bodyPr/>
          <a:lstStyle/>
          <a:p>
            <a:r>
              <a:rPr lang="en-US" noProof="0"/>
              <a:t>Optional subhead, Arial Regular 15 pt</a:t>
            </a:r>
          </a:p>
        </p:txBody>
      </p:sp>
      <p:sp>
        <p:nvSpPr>
          <p:cNvPr id="6" name="Title 5">
            <a:extLst>
              <a:ext uri="{FF2B5EF4-FFF2-40B4-BE49-F238E27FC236}">
                <a16:creationId xmlns:a16="http://schemas.microsoft.com/office/drawing/2014/main" id="{C5A60110-6C10-EB6C-B011-AF4EAC47B1CC}"/>
              </a:ext>
            </a:extLst>
          </p:cNvPr>
          <p:cNvSpPr>
            <a:spLocks noGrp="1"/>
          </p:cNvSpPr>
          <p:nvPr>
            <p:ph type="ctrTitle"/>
          </p:nvPr>
        </p:nvSpPr>
        <p:spPr/>
        <p:txBody>
          <a:bodyPr/>
          <a:lstStyle/>
          <a:p>
            <a:endParaRPr lang="es-ES"/>
          </a:p>
        </p:txBody>
      </p:sp>
      <p:pic>
        <p:nvPicPr>
          <p:cNvPr id="7" name="Online Media 6" title="Windmill destructed in storm">
            <a:hlinkClick r:id="" action="ppaction://media"/>
            <a:extLst>
              <a:ext uri="{FF2B5EF4-FFF2-40B4-BE49-F238E27FC236}">
                <a16:creationId xmlns:a16="http://schemas.microsoft.com/office/drawing/2014/main" id="{D05362F7-942A-9732-31BC-69A1332E468E}"/>
              </a:ext>
            </a:extLst>
          </p:cNvPr>
          <p:cNvPicPr>
            <a:picLocks noRot="1" noChangeAspect="1"/>
          </p:cNvPicPr>
          <p:nvPr>
            <a:videoFile r:link="rId2"/>
          </p:nvPr>
        </p:nvPicPr>
        <p:blipFill>
          <a:blip r:embed="rId7"/>
          <a:stretch>
            <a:fillRect/>
          </a:stretch>
        </p:blipFill>
        <p:spPr>
          <a:xfrm>
            <a:off x="602482" y="838200"/>
            <a:ext cx="10527880" cy="5943600"/>
          </a:xfrm>
          <a:prstGeom prst="rect">
            <a:avLst/>
          </a:prstGeom>
        </p:spPr>
      </p:pic>
    </p:spTree>
    <p:extLst>
      <p:ext uri="{BB962C8B-B14F-4D97-AF65-F5344CB8AC3E}">
        <p14:creationId xmlns:p14="http://schemas.microsoft.com/office/powerpoint/2010/main" val="89208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149A9B-BC51-409E-9CC5-C3C76B6CF3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kt 7" hidden="1">
                        <a:extLst>
                          <a:ext uri="{FF2B5EF4-FFF2-40B4-BE49-F238E27FC236}">
                            <a16:creationId xmlns:a16="http://schemas.microsoft.com/office/drawing/2014/main" id="{F2149A9B-BC51-409E-9CC5-C3C76B6CF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79A16D7E-7C00-42EF-B608-3DC55787BD74}"/>
              </a:ext>
            </a:extLst>
          </p:cNvPr>
          <p:cNvSpPr>
            <a:spLocks noGrp="1"/>
          </p:cNvSpPr>
          <p:nvPr>
            <p:ph type="ctrTitle"/>
          </p:nvPr>
        </p:nvSpPr>
        <p:spPr bwMode="black"/>
        <p:txBody>
          <a:bodyPr vert="horz"/>
          <a:lstStyle/>
          <a:p>
            <a:r>
              <a:rPr lang="en-US"/>
              <a:t>Chapter divider</a:t>
            </a:r>
            <a:br>
              <a:rPr lang="en-US"/>
            </a:br>
            <a:r>
              <a:rPr lang="en-US"/>
              <a:t>Arial Bold 44 pt</a:t>
            </a:r>
            <a:endParaRPr lang="en-US" noProof="0"/>
          </a:p>
        </p:txBody>
      </p:sp>
      <p:sp>
        <p:nvSpPr>
          <p:cNvPr id="4" name="Subhead"/>
          <p:cNvSpPr>
            <a:spLocks noGrp="1"/>
          </p:cNvSpPr>
          <p:nvPr>
            <p:ph type="subTitle" idx="1"/>
          </p:nvPr>
        </p:nvSpPr>
        <p:spPr bwMode="black"/>
        <p:txBody>
          <a:bodyPr/>
          <a:lstStyle/>
          <a:p>
            <a:r>
              <a:rPr lang="en-US" noProof="0"/>
              <a:t>Optional subhead, Arial Regular 15 pt</a:t>
            </a:r>
          </a:p>
        </p:txBody>
      </p:sp>
      <p:pic>
        <p:nvPicPr>
          <p:cNvPr id="3" name="Elementos multimedia en línea 2" title="Staged cyber attack reveals vulnerability in power grid">
            <a:hlinkClick r:id="" action="ppaction://media"/>
            <a:extLst>
              <a:ext uri="{FF2B5EF4-FFF2-40B4-BE49-F238E27FC236}">
                <a16:creationId xmlns:a16="http://schemas.microsoft.com/office/drawing/2014/main" id="{834C1868-F7E9-17AF-823F-8365F0CA39B0}"/>
              </a:ext>
            </a:extLst>
          </p:cNvPr>
          <p:cNvPicPr>
            <a:picLocks noRot="1" noChangeAspect="1"/>
          </p:cNvPicPr>
          <p:nvPr>
            <a:videoFile r:link="rId2"/>
          </p:nvPr>
        </p:nvPicPr>
        <p:blipFill>
          <a:blip r:embed="rId7"/>
          <a:stretch>
            <a:fillRect/>
          </a:stretch>
        </p:blipFill>
        <p:spPr>
          <a:xfrm>
            <a:off x="604940" y="914400"/>
            <a:ext cx="10365913" cy="5852160"/>
          </a:xfrm>
          <a:prstGeom prst="rect">
            <a:avLst/>
          </a:prstGeom>
        </p:spPr>
      </p:pic>
    </p:spTree>
    <p:extLst>
      <p:ext uri="{BB962C8B-B14F-4D97-AF65-F5344CB8AC3E}">
        <p14:creationId xmlns:p14="http://schemas.microsoft.com/office/powerpoint/2010/main" val="3354814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149A9B-BC51-409E-9CC5-C3C76B6CF3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kt 7" hidden="1">
                        <a:extLst>
                          <a:ext uri="{FF2B5EF4-FFF2-40B4-BE49-F238E27FC236}">
                            <a16:creationId xmlns:a16="http://schemas.microsoft.com/office/drawing/2014/main" id="{F2149A9B-BC51-409E-9CC5-C3C76B6CF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AutoShape 2">
            <a:extLst>
              <a:ext uri="{FF2B5EF4-FFF2-40B4-BE49-F238E27FC236}">
                <a16:creationId xmlns:a16="http://schemas.microsoft.com/office/drawing/2014/main" id="{ABB31FDD-4E90-55FD-565F-787BEF638857}"/>
              </a:ext>
            </a:extLst>
          </p:cNvPr>
          <p:cNvSpPr/>
          <p:nvPr/>
        </p:nvSpPr>
        <p:spPr>
          <a:xfrm>
            <a:off x="4741961" y="5007406"/>
            <a:ext cx="2675237" cy="0"/>
          </a:xfrm>
          <a:prstGeom prst="line">
            <a:avLst/>
          </a:prstGeom>
          <a:ln w="9525" cap="flat">
            <a:solidFill>
              <a:srgbClr val="FFFFFF"/>
            </a:solidFill>
            <a:prstDash val="solid"/>
            <a:headEnd type="none" w="sm" len="sm"/>
            <a:tailEnd type="none" w="sm" len="sm"/>
          </a:ln>
        </p:spPr>
        <p:txBody>
          <a:bodyPr/>
          <a:lstStyle/>
          <a:p>
            <a:endParaRPr lang="es-ES"/>
          </a:p>
        </p:txBody>
      </p:sp>
      <p:sp>
        <p:nvSpPr>
          <p:cNvPr id="11" name="Freeform 5">
            <a:extLst>
              <a:ext uri="{FF2B5EF4-FFF2-40B4-BE49-F238E27FC236}">
                <a16:creationId xmlns:a16="http://schemas.microsoft.com/office/drawing/2014/main" id="{B69EFE6A-5338-933B-6E82-DE171CEBA6E0}"/>
              </a:ext>
            </a:extLst>
          </p:cNvPr>
          <p:cNvSpPr/>
          <p:nvPr/>
        </p:nvSpPr>
        <p:spPr>
          <a:xfrm>
            <a:off x="4444460" y="1682172"/>
            <a:ext cx="3283337" cy="3283337"/>
          </a:xfrm>
          <a:custGeom>
            <a:avLst/>
            <a:gdLst/>
            <a:ahLst/>
            <a:cxnLst/>
            <a:rect l="l" t="t" r="r" b="b"/>
            <a:pathLst>
              <a:path w="4925005" h="4925005">
                <a:moveTo>
                  <a:pt x="0" y="0"/>
                </a:moveTo>
                <a:lnTo>
                  <a:pt x="4925005" y="0"/>
                </a:lnTo>
                <a:lnTo>
                  <a:pt x="4925005" y="4925005"/>
                </a:lnTo>
                <a:lnTo>
                  <a:pt x="0" y="492500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s-ES"/>
          </a:p>
        </p:txBody>
      </p:sp>
      <p:grpSp>
        <p:nvGrpSpPr>
          <p:cNvPr id="12" name="Group 6">
            <a:extLst>
              <a:ext uri="{FF2B5EF4-FFF2-40B4-BE49-F238E27FC236}">
                <a16:creationId xmlns:a16="http://schemas.microsoft.com/office/drawing/2014/main" id="{58C801AD-B38D-3A22-0DA0-5D087D255ACB}"/>
              </a:ext>
            </a:extLst>
          </p:cNvPr>
          <p:cNvGrpSpPr>
            <a:grpSpLocks noChangeAspect="1"/>
          </p:cNvGrpSpPr>
          <p:nvPr/>
        </p:nvGrpSpPr>
        <p:grpSpPr>
          <a:xfrm>
            <a:off x="4507252" y="1753945"/>
            <a:ext cx="3157751" cy="3157738"/>
            <a:chOff x="0" y="0"/>
            <a:chExt cx="6350000" cy="6349975"/>
          </a:xfrm>
        </p:grpSpPr>
        <p:sp>
          <p:nvSpPr>
            <p:cNvPr id="13" name="Freeform 7">
              <a:extLst>
                <a:ext uri="{FF2B5EF4-FFF2-40B4-BE49-F238E27FC236}">
                  <a16:creationId xmlns:a16="http://schemas.microsoft.com/office/drawing/2014/main" id="{B76A0D04-D2AC-1B67-0D88-4E4B991F950D}"/>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8"/>
              <a:stretch>
                <a:fillRect l="-27519" r="-27519"/>
              </a:stretch>
            </a:blipFill>
          </p:spPr>
          <p:txBody>
            <a:bodyPr/>
            <a:lstStyle/>
            <a:p>
              <a:endParaRPr lang="es-ES"/>
            </a:p>
          </p:txBody>
        </p:sp>
      </p:grpSp>
      <p:sp>
        <p:nvSpPr>
          <p:cNvPr id="14" name="Freeform 8">
            <a:extLst>
              <a:ext uri="{FF2B5EF4-FFF2-40B4-BE49-F238E27FC236}">
                <a16:creationId xmlns:a16="http://schemas.microsoft.com/office/drawing/2014/main" id="{1F24CC90-2D37-8F6B-6219-57850ADFEBBC}"/>
              </a:ext>
            </a:extLst>
          </p:cNvPr>
          <p:cNvSpPr/>
          <p:nvPr/>
        </p:nvSpPr>
        <p:spPr>
          <a:xfrm>
            <a:off x="9525000" y="2928867"/>
            <a:ext cx="417145" cy="417145"/>
          </a:xfrm>
          <a:custGeom>
            <a:avLst/>
            <a:gdLst/>
            <a:ahLst/>
            <a:cxnLst/>
            <a:rect l="l" t="t" r="r" b="b"/>
            <a:pathLst>
              <a:path w="625717" h="625717">
                <a:moveTo>
                  <a:pt x="0" y="0"/>
                </a:moveTo>
                <a:lnTo>
                  <a:pt x="625718" y="0"/>
                </a:lnTo>
                <a:lnTo>
                  <a:pt x="625718" y="625717"/>
                </a:lnTo>
                <a:lnTo>
                  <a:pt x="0" y="625717"/>
                </a:lnTo>
                <a:lnTo>
                  <a:pt x="0" y="0"/>
                </a:lnTo>
                <a:close/>
              </a:path>
            </a:pathLst>
          </a:custGeom>
          <a:blipFill>
            <a:blip r:embed="rId9">
              <a:alphaModFix amt="38000"/>
              <a:extLst>
                <a:ext uri="{96DAC541-7B7A-43D3-8B79-37D633B846F1}">
                  <asvg:svgBlip xmlns:asvg="http://schemas.microsoft.com/office/drawing/2016/SVG/main" r:embed="rId10"/>
                </a:ext>
              </a:extLst>
            </a:blip>
            <a:stretch>
              <a:fillRect/>
            </a:stretch>
          </a:blipFill>
        </p:spPr>
        <p:txBody>
          <a:bodyPr/>
          <a:lstStyle/>
          <a:p>
            <a:endParaRPr lang="es-ES"/>
          </a:p>
        </p:txBody>
      </p:sp>
      <p:sp>
        <p:nvSpPr>
          <p:cNvPr id="15" name="Freeform 9">
            <a:extLst>
              <a:ext uri="{FF2B5EF4-FFF2-40B4-BE49-F238E27FC236}">
                <a16:creationId xmlns:a16="http://schemas.microsoft.com/office/drawing/2014/main" id="{732AFE5F-DDE5-146D-984E-2CFF3444B5EF}"/>
              </a:ext>
            </a:extLst>
          </p:cNvPr>
          <p:cNvSpPr/>
          <p:nvPr/>
        </p:nvSpPr>
        <p:spPr>
          <a:xfrm rot="-2700000">
            <a:off x="3232382" y="4070523"/>
            <a:ext cx="268616" cy="268616"/>
          </a:xfrm>
          <a:custGeom>
            <a:avLst/>
            <a:gdLst/>
            <a:ahLst/>
            <a:cxnLst/>
            <a:rect l="l" t="t" r="r" b="b"/>
            <a:pathLst>
              <a:path w="402924" h="402924">
                <a:moveTo>
                  <a:pt x="0" y="0"/>
                </a:moveTo>
                <a:lnTo>
                  <a:pt x="402924" y="0"/>
                </a:lnTo>
                <a:lnTo>
                  <a:pt x="402924" y="402923"/>
                </a:lnTo>
                <a:lnTo>
                  <a:pt x="0" y="402923"/>
                </a:lnTo>
                <a:lnTo>
                  <a:pt x="0" y="0"/>
                </a:lnTo>
                <a:close/>
              </a:path>
            </a:pathLst>
          </a:custGeom>
          <a:blipFill>
            <a:blip r:embed="rId11">
              <a:alphaModFix amt="38000"/>
              <a:extLst>
                <a:ext uri="{96DAC541-7B7A-43D3-8B79-37D633B846F1}">
                  <asvg:svgBlip xmlns:asvg="http://schemas.microsoft.com/office/drawing/2016/SVG/main" r:embed="rId12"/>
                </a:ext>
              </a:extLst>
            </a:blip>
            <a:stretch>
              <a:fillRect/>
            </a:stretch>
          </a:blipFill>
        </p:spPr>
        <p:txBody>
          <a:bodyPr/>
          <a:lstStyle/>
          <a:p>
            <a:endParaRPr lang="es-ES"/>
          </a:p>
        </p:txBody>
      </p:sp>
      <p:sp>
        <p:nvSpPr>
          <p:cNvPr id="16" name="Freeform 10">
            <a:extLst>
              <a:ext uri="{FF2B5EF4-FFF2-40B4-BE49-F238E27FC236}">
                <a16:creationId xmlns:a16="http://schemas.microsoft.com/office/drawing/2014/main" id="{54A53287-31EE-3915-9EA2-C0D8B251466E}"/>
              </a:ext>
            </a:extLst>
          </p:cNvPr>
          <p:cNvSpPr/>
          <p:nvPr/>
        </p:nvSpPr>
        <p:spPr>
          <a:xfrm rot="-2700000">
            <a:off x="8661503" y="1804723"/>
            <a:ext cx="268616" cy="268616"/>
          </a:xfrm>
          <a:custGeom>
            <a:avLst/>
            <a:gdLst/>
            <a:ahLst/>
            <a:cxnLst/>
            <a:rect l="l" t="t" r="r" b="b"/>
            <a:pathLst>
              <a:path w="402924" h="402924">
                <a:moveTo>
                  <a:pt x="0" y="0"/>
                </a:moveTo>
                <a:lnTo>
                  <a:pt x="402924" y="0"/>
                </a:lnTo>
                <a:lnTo>
                  <a:pt x="402924" y="402923"/>
                </a:lnTo>
                <a:lnTo>
                  <a:pt x="0" y="402923"/>
                </a:lnTo>
                <a:lnTo>
                  <a:pt x="0" y="0"/>
                </a:lnTo>
                <a:close/>
              </a:path>
            </a:pathLst>
          </a:custGeom>
          <a:blipFill>
            <a:blip r:embed="rId11">
              <a:alphaModFix amt="38000"/>
              <a:extLst>
                <a:ext uri="{96DAC541-7B7A-43D3-8B79-37D633B846F1}">
                  <asvg:svgBlip xmlns:asvg="http://schemas.microsoft.com/office/drawing/2016/SVG/main" r:embed="rId12"/>
                </a:ext>
              </a:extLst>
            </a:blip>
            <a:stretch>
              <a:fillRect/>
            </a:stretch>
          </a:blipFill>
        </p:spPr>
        <p:txBody>
          <a:bodyPr/>
          <a:lstStyle/>
          <a:p>
            <a:endParaRPr lang="es-ES"/>
          </a:p>
        </p:txBody>
      </p:sp>
      <p:sp>
        <p:nvSpPr>
          <p:cNvPr id="17" name="Freeform 11">
            <a:extLst>
              <a:ext uri="{FF2B5EF4-FFF2-40B4-BE49-F238E27FC236}">
                <a16:creationId xmlns:a16="http://schemas.microsoft.com/office/drawing/2014/main" id="{962C9BF2-AE07-63C8-ACCE-6D8DE3191007}"/>
              </a:ext>
            </a:extLst>
          </p:cNvPr>
          <p:cNvSpPr/>
          <p:nvPr/>
        </p:nvSpPr>
        <p:spPr>
          <a:xfrm>
            <a:off x="9525011" y="4414840"/>
            <a:ext cx="586980" cy="586980"/>
          </a:xfrm>
          <a:custGeom>
            <a:avLst/>
            <a:gdLst/>
            <a:ahLst/>
            <a:cxnLst/>
            <a:rect l="l" t="t" r="r" b="b"/>
            <a:pathLst>
              <a:path w="880470" h="880470">
                <a:moveTo>
                  <a:pt x="0" y="0"/>
                </a:moveTo>
                <a:lnTo>
                  <a:pt x="880470" y="0"/>
                </a:lnTo>
                <a:lnTo>
                  <a:pt x="880470" y="880470"/>
                </a:lnTo>
                <a:lnTo>
                  <a:pt x="0" y="880470"/>
                </a:lnTo>
                <a:lnTo>
                  <a:pt x="0" y="0"/>
                </a:lnTo>
                <a:close/>
              </a:path>
            </a:pathLst>
          </a:custGeom>
          <a:blipFill>
            <a:blip r:embed="rId13"/>
            <a:stretch>
              <a:fillRect/>
            </a:stretch>
          </a:blipFill>
        </p:spPr>
        <p:txBody>
          <a:bodyPr/>
          <a:lstStyle/>
          <a:p>
            <a:endParaRPr lang="es-ES"/>
          </a:p>
        </p:txBody>
      </p:sp>
      <p:sp>
        <p:nvSpPr>
          <p:cNvPr id="18" name="Freeform 12">
            <a:extLst>
              <a:ext uri="{FF2B5EF4-FFF2-40B4-BE49-F238E27FC236}">
                <a16:creationId xmlns:a16="http://schemas.microsoft.com/office/drawing/2014/main" id="{5D5B33AE-40E8-709F-3B4A-774461BB15BA}"/>
              </a:ext>
            </a:extLst>
          </p:cNvPr>
          <p:cNvSpPr/>
          <p:nvPr/>
        </p:nvSpPr>
        <p:spPr>
          <a:xfrm>
            <a:off x="2209800" y="2143729"/>
            <a:ext cx="578361" cy="578361"/>
          </a:xfrm>
          <a:custGeom>
            <a:avLst/>
            <a:gdLst/>
            <a:ahLst/>
            <a:cxnLst/>
            <a:rect l="l" t="t" r="r" b="b"/>
            <a:pathLst>
              <a:path w="867541" h="867541">
                <a:moveTo>
                  <a:pt x="0" y="0"/>
                </a:moveTo>
                <a:lnTo>
                  <a:pt x="867541" y="0"/>
                </a:lnTo>
                <a:lnTo>
                  <a:pt x="867541" y="867541"/>
                </a:lnTo>
                <a:lnTo>
                  <a:pt x="0" y="867541"/>
                </a:lnTo>
                <a:lnTo>
                  <a:pt x="0" y="0"/>
                </a:lnTo>
                <a:close/>
              </a:path>
            </a:pathLst>
          </a:custGeom>
          <a:blipFill>
            <a:blip r:embed="rId13"/>
            <a:stretch>
              <a:fillRect/>
            </a:stretch>
          </a:blipFill>
        </p:spPr>
        <p:txBody>
          <a:bodyPr/>
          <a:lstStyle/>
          <a:p>
            <a:endParaRPr lang="es-ES" dirty="0"/>
          </a:p>
        </p:txBody>
      </p:sp>
      <p:sp>
        <p:nvSpPr>
          <p:cNvPr id="19" name="TextBox 13">
            <a:extLst>
              <a:ext uri="{FF2B5EF4-FFF2-40B4-BE49-F238E27FC236}">
                <a16:creationId xmlns:a16="http://schemas.microsoft.com/office/drawing/2014/main" id="{9F767761-D39E-9B01-9A71-E3B206DBC0EF}"/>
              </a:ext>
            </a:extLst>
          </p:cNvPr>
          <p:cNvSpPr txBox="1"/>
          <p:nvPr/>
        </p:nvSpPr>
        <p:spPr>
          <a:xfrm>
            <a:off x="2979902" y="6275386"/>
            <a:ext cx="6299412" cy="58990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10"/>
              </a:lnSpc>
            </a:pPr>
            <a:endParaRPr sz="800"/>
          </a:p>
          <a:p>
            <a:pPr algn="ctr">
              <a:lnSpc>
                <a:spcPts val="2913"/>
              </a:lnSpc>
            </a:pPr>
            <a:r>
              <a:rPr lang="en-US" sz="2601">
                <a:solidFill>
                  <a:srgbClr val="FFFFFF"/>
                </a:solidFill>
                <a:latin typeface="Montserrat Bold"/>
              </a:rPr>
              <a:t>INFRAESTRUCTURAS CRÍTICAS</a:t>
            </a:r>
          </a:p>
        </p:txBody>
      </p:sp>
      <p:sp>
        <p:nvSpPr>
          <p:cNvPr id="20" name="TextBox 14">
            <a:extLst>
              <a:ext uri="{FF2B5EF4-FFF2-40B4-BE49-F238E27FC236}">
                <a16:creationId xmlns:a16="http://schemas.microsoft.com/office/drawing/2014/main" id="{81B0101C-F986-663B-0FC7-B50A7695A5C7}"/>
              </a:ext>
            </a:extLst>
          </p:cNvPr>
          <p:cNvSpPr txBox="1"/>
          <p:nvPr/>
        </p:nvSpPr>
        <p:spPr>
          <a:xfrm>
            <a:off x="2662508" y="5117799"/>
            <a:ext cx="6934200" cy="130805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4015"/>
              </a:lnSpc>
            </a:pPr>
            <a:r>
              <a:rPr lang="en-US" sz="3585" dirty="0">
                <a:solidFill>
                  <a:srgbClr val="FFFFFF"/>
                </a:solidFill>
                <a:latin typeface="Montserrat Bold"/>
              </a:rPr>
              <a:t>CIBERSEGURIDAD </a:t>
            </a:r>
          </a:p>
          <a:p>
            <a:pPr algn="ctr">
              <a:lnSpc>
                <a:spcPts val="4015"/>
              </a:lnSpc>
            </a:pPr>
            <a:r>
              <a:rPr lang="en-US" sz="3585" dirty="0">
                <a:solidFill>
                  <a:srgbClr val="FFFFFF"/>
                </a:solidFill>
                <a:latin typeface="Montserrat Bold"/>
              </a:rPr>
              <a:t>OT</a:t>
            </a:r>
          </a:p>
          <a:p>
            <a:pPr algn="ctr">
              <a:lnSpc>
                <a:spcPts val="2218"/>
              </a:lnSpc>
            </a:pPr>
            <a:r>
              <a:rPr lang="en-US" sz="1980" dirty="0">
                <a:solidFill>
                  <a:srgbClr val="FFFFFF"/>
                </a:solidFill>
                <a:latin typeface="Montserrat Bold"/>
              </a:rPr>
              <a:t>&amp;</a:t>
            </a:r>
          </a:p>
        </p:txBody>
      </p:sp>
      <p:sp>
        <p:nvSpPr>
          <p:cNvPr id="21" name="TextBox 15">
            <a:extLst>
              <a:ext uri="{FF2B5EF4-FFF2-40B4-BE49-F238E27FC236}">
                <a16:creationId xmlns:a16="http://schemas.microsoft.com/office/drawing/2014/main" id="{617DAAC7-0422-9BC3-A674-A819699DBC67}"/>
              </a:ext>
            </a:extLst>
          </p:cNvPr>
          <p:cNvSpPr txBox="1"/>
          <p:nvPr/>
        </p:nvSpPr>
        <p:spPr>
          <a:xfrm>
            <a:off x="1905000" y="407570"/>
            <a:ext cx="8632073" cy="173124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4530"/>
              </a:lnSpc>
            </a:pPr>
            <a:r>
              <a:rPr lang="en-US" sz="4800" dirty="0">
                <a:solidFill>
                  <a:srgbClr val="FFFFFF"/>
                </a:solidFill>
                <a:latin typeface="Montserrat Bold"/>
              </a:rPr>
              <a:t>CIBERSEGURIDAD TELECOMUNICACIONES</a:t>
            </a:r>
          </a:p>
          <a:p>
            <a:pPr algn="ctr">
              <a:lnSpc>
                <a:spcPts val="4530"/>
              </a:lnSpc>
            </a:pPr>
            <a:endParaRPr lang="en-US" sz="4400" dirty="0">
              <a:solidFill>
                <a:srgbClr val="FFFFFF"/>
              </a:solidFill>
              <a:latin typeface="Montserrat Bold"/>
            </a:endParaRPr>
          </a:p>
        </p:txBody>
      </p:sp>
    </p:spTree>
    <p:extLst>
      <p:ext uri="{BB962C8B-B14F-4D97-AF65-F5344CB8AC3E}">
        <p14:creationId xmlns:p14="http://schemas.microsoft.com/office/powerpoint/2010/main" val="30763144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emens Gamesa Renewable Energy">
  <a:themeElements>
    <a:clrScheme name="Siemens Gamesa">
      <a:dk1>
        <a:sysClr val="windowText" lastClr="000000"/>
      </a:dk1>
      <a:lt1>
        <a:sysClr val="window" lastClr="FFFFFF"/>
      </a:lt1>
      <a:dk2>
        <a:srgbClr val="3C3C3C"/>
      </a:dk2>
      <a:lt2>
        <a:srgbClr val="E8E8E8"/>
      </a:lt2>
      <a:accent1>
        <a:srgbClr val="321850"/>
      </a:accent1>
      <a:accent2>
        <a:srgbClr val="3C3C3C"/>
      </a:accent2>
      <a:accent3>
        <a:srgbClr val="00B0AD"/>
      </a:accent3>
      <a:accent4>
        <a:srgbClr val="FAB600"/>
      </a:accent4>
      <a:accent5>
        <a:srgbClr val="878787"/>
      </a:accent5>
      <a:accent6>
        <a:srgbClr val="C6C6C6"/>
      </a:accent6>
      <a:hlink>
        <a:srgbClr val="321850"/>
      </a:hlink>
      <a:folHlink>
        <a:srgbClr val="878787"/>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44000" rIns="180000" bIns="144000" rtlCol="0" anchor="t"/>
      <a:lstStyle>
        <a:defPPr algn="l">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accent6"/>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White">
      <a:srgbClr val="FFFFFF"/>
    </a:custClr>
    <a:custClr name="White">
      <a:srgbClr val="FFFFFF"/>
    </a:custClr>
    <a:custClr name="White">
      <a:srgbClr val="FFFFFF"/>
    </a:custClr>
    <a:custClr name="White">
      <a:srgbClr val="FFFFFF"/>
    </a:custClr>
    <a:custClr name="Dark Purple 80%">
      <a:srgbClr val="5A4673"/>
    </a:custClr>
    <a:custClr name="Dark Gray 80%">
      <a:srgbClr val="636363"/>
    </a:custClr>
    <a:custClr name="Turquoise 80%">
      <a:srgbClr val="33C0BD"/>
    </a:custClr>
    <a:custClr name="Sunrise 80%">
      <a:srgbClr val="FBC533"/>
    </a:custClr>
    <a:custClr name="Medium Gray 80%">
      <a:srgbClr val="9F9F9F"/>
    </a:custClr>
    <a:custClr name="Soft Gray 80%">
      <a:srgbClr val="D1D1D1"/>
    </a:custClr>
    <a:custClr name="White">
      <a:srgbClr val="FFFFFF"/>
    </a:custClr>
    <a:custClr name="White">
      <a:srgbClr val="FFFFFF"/>
    </a:custClr>
    <a:custClr name="White">
      <a:srgbClr val="FFFFFF"/>
    </a:custClr>
    <a:custClr name="White">
      <a:srgbClr val="FFFFFF"/>
    </a:custClr>
    <a:custClr name="Dark Purple 60%">
      <a:srgbClr val="847496"/>
    </a:custClr>
    <a:custClr name="Dark Gray 60%">
      <a:srgbClr val="8A8A8A"/>
    </a:custClr>
    <a:custClr name="Turquoise 60%">
      <a:srgbClr val="66D0CE"/>
    </a:custClr>
    <a:custClr name="Sunrise 60%">
      <a:srgbClr val="FCD366"/>
    </a:custClr>
    <a:custClr name="Medium Gray 60%">
      <a:srgbClr val="B7B7B7"/>
    </a:custClr>
    <a:custClr name="Soft Gray 60%">
      <a:srgbClr val="DDDDDD"/>
    </a:custClr>
    <a:custClr name="White">
      <a:srgbClr val="FFFFFF"/>
    </a:custClr>
    <a:custClr name="White">
      <a:srgbClr val="FFFFFF"/>
    </a:custClr>
    <a:custClr name="White">
      <a:srgbClr val="FFFFFF"/>
    </a:custClr>
    <a:custClr name="White">
      <a:srgbClr val="FFFFFF"/>
    </a:custClr>
    <a:custClr name="Dark Purple 40%">
      <a:srgbClr val="ADA3B9"/>
    </a:custClr>
    <a:custClr name="Dark Gray 40%">
      <a:srgbClr val="B1B1B1"/>
    </a:custClr>
    <a:custClr name="Turquoise 40%">
      <a:srgbClr val="99DEDF"/>
    </a:custClr>
    <a:custClr name="Sunrise 40%">
      <a:srgbClr val="FDE299"/>
    </a:custClr>
    <a:custClr name="Medium Gray 40%">
      <a:srgbClr val="CFCFCF"/>
    </a:custClr>
    <a:custClr name="Soft Gray 40%">
      <a:srgbClr val="E8E8E8"/>
    </a:custClr>
    <a:custClr name="White">
      <a:srgbClr val="FFFFFF"/>
    </a:custClr>
    <a:custClr name="White">
      <a:srgbClr val="FFFFFF"/>
    </a:custClr>
    <a:custClr name="White">
      <a:srgbClr val="FFFFFF"/>
    </a:custClr>
    <a:custClr name="White">
      <a:srgbClr val="FFFFFF"/>
    </a:custClr>
    <a:custClr name="Dark Purple 20%">
      <a:srgbClr val="D6D1DC"/>
    </a:custClr>
    <a:custClr name="Dark Gray 20%">
      <a:srgbClr val="D8D8D8"/>
    </a:custClr>
    <a:custClr name="Turquoise 20%">
      <a:srgbClr val="CCEFEF"/>
    </a:custClr>
    <a:custClr name="Sunrise 20%">
      <a:srgbClr val="FEF0CC"/>
    </a:custClr>
    <a:custClr name="Medium Gray 20%">
      <a:srgbClr val="E7E7E7"/>
    </a:custClr>
    <a:custClr name="Soft Gray 20%">
      <a:srgbClr val="F4F4F4"/>
    </a:custClr>
  </a:custClrLst>
  <a:extLst>
    <a:ext uri="{05A4C25C-085E-4340-85A3-A5531E510DB2}">
      <thm15:themeFamily xmlns:thm15="http://schemas.microsoft.com/office/thememl/2012/main" name="Siemens_Gamesa_PPT-Template_v03.potx" id="{C72B0150-1E5B-4C6B-9DBB-08B9735C6A13}" vid="{CB5E8B87-9E08-4E9F-88D2-EEB92E4BA264}"/>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3250</TotalTime>
  <Words>1276</Words>
  <Application>Microsoft Office PowerPoint</Application>
  <PresentationFormat>Widescreen</PresentationFormat>
  <Paragraphs>156</Paragraphs>
  <Slides>33</Slides>
  <Notes>15</Notes>
  <HiddenSlides>0</HiddenSlides>
  <MMClips>2</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6" baseType="lpstr">
      <vt:lpstr>Aptos</vt:lpstr>
      <vt:lpstr>Arial</vt:lpstr>
      <vt:lpstr>Calibri</vt:lpstr>
      <vt:lpstr>Calibri Light</vt:lpstr>
      <vt:lpstr>Montserrat</vt:lpstr>
      <vt:lpstr>Montserrat Bold</vt:lpstr>
      <vt:lpstr>Times New Roman</vt:lpstr>
      <vt:lpstr>Wingdings</vt:lpstr>
      <vt:lpstr>Office Theme</vt:lpstr>
      <vt:lpstr>Tema de Office</vt:lpstr>
      <vt:lpstr>Tema de Office</vt:lpstr>
      <vt:lpstr>Siemens Gamesa Renewable Energy</vt:lpstr>
      <vt:lpstr>think-cell Slide</vt:lpstr>
      <vt:lpstr>Ciberseguridad en Comunicaciones y Networking</vt:lpstr>
      <vt:lpstr>INDICE</vt:lpstr>
      <vt:lpstr>Creatividad Energía para generaciones futuras</vt:lpstr>
      <vt:lpstr>PowerPoint Presentation</vt:lpstr>
      <vt:lpstr>Fundamentos Energia Eólica</vt:lpstr>
      <vt:lpstr>Dos modalidades Onshore y Offshore</vt:lpstr>
      <vt:lpstr>PowerPoint Presentation</vt:lpstr>
      <vt:lpstr>Chapter divider Arial Bold 44 pt</vt:lpstr>
      <vt:lpstr>PowerPoint Presentation</vt:lpstr>
      <vt:lpstr>TECNOLOGIAS DE LA OPERACION</vt:lpstr>
      <vt:lpstr>Intro: Infraestructuras Críticas</vt:lpstr>
      <vt:lpstr>Estructura Industrial Control System</vt:lpstr>
      <vt:lpstr>Intro: IT/O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ociación Madrileña de Graduados e  Ingenieros  Técnicos de Telecomunicaciones </vt:lpstr>
      <vt:lpstr>PowerPoint Presentation</vt:lpstr>
      <vt:lpstr>PowerPoint Presentation</vt:lpstr>
      <vt:lpstr>PowerPoint Presentation</vt:lpstr>
      <vt:lpstr>PowerPoint Presentation</vt:lpstr>
      <vt:lpstr>PowerPoint Presentation</vt:lpstr>
      <vt:lpstr>PowerPoint Presentation</vt:lpstr>
      <vt:lpstr>CONTACTO?</vt:lpstr>
      <vt:lpstr> Gracias por vuestra atenció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Jose Miguel</dc:creator>
  <cp:lastModifiedBy>Ballesteros Carballo, Manuel Antonio</cp:lastModifiedBy>
  <cp:revision>45</cp:revision>
  <dcterms:created xsi:type="dcterms:W3CDTF">2022-05-11T18:52:19Z</dcterms:created>
  <dcterms:modified xsi:type="dcterms:W3CDTF">2024-09-30T10:5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5-11T00:00:00Z</vt:filetime>
  </property>
  <property fmtid="{D5CDD505-2E9C-101B-9397-08002B2CF9AE}" pid="3" name="Creator">
    <vt:lpwstr>Microsoft® PowerPoint® para Microsoft 365</vt:lpwstr>
  </property>
  <property fmtid="{D5CDD505-2E9C-101B-9397-08002B2CF9AE}" pid="4" name="LastSaved">
    <vt:filetime>2022-05-11T00:00:00Z</vt:filetime>
  </property>
  <property fmtid="{D5CDD505-2E9C-101B-9397-08002B2CF9AE}" pid="5" name="MSIP_Label_6013f521-439d-4e48-8e98-41ab6c596aa7_Enabled">
    <vt:lpwstr>true</vt:lpwstr>
  </property>
  <property fmtid="{D5CDD505-2E9C-101B-9397-08002B2CF9AE}" pid="6" name="MSIP_Label_6013f521-439d-4e48-8e98-41ab6c596aa7_SetDate">
    <vt:lpwstr>2024-09-22T16:47:13Z</vt:lpwstr>
  </property>
  <property fmtid="{D5CDD505-2E9C-101B-9397-08002B2CF9AE}" pid="7" name="MSIP_Label_6013f521-439d-4e48-8e98-41ab6c596aa7_Method">
    <vt:lpwstr>Standard</vt:lpwstr>
  </property>
  <property fmtid="{D5CDD505-2E9C-101B-9397-08002B2CF9AE}" pid="8" name="MSIP_Label_6013f521-439d-4e48-8e98-41ab6c596aa7_Name">
    <vt:lpwstr>6013f521-439d-4e48-8e98-41ab6c596aa7</vt:lpwstr>
  </property>
  <property fmtid="{D5CDD505-2E9C-101B-9397-08002B2CF9AE}" pid="9" name="MSIP_Label_6013f521-439d-4e48-8e98-41ab6c596aa7_SiteId">
    <vt:lpwstr>12f921d8-f30d-4596-a652-7045b338485a</vt:lpwstr>
  </property>
  <property fmtid="{D5CDD505-2E9C-101B-9397-08002B2CF9AE}" pid="10" name="MSIP_Label_6013f521-439d-4e48-8e98-41ab6c596aa7_ActionId">
    <vt:lpwstr>231bcd75-8c01-4547-a23e-cf54597861c6</vt:lpwstr>
  </property>
  <property fmtid="{D5CDD505-2E9C-101B-9397-08002B2CF9AE}" pid="11" name="MSIP_Label_6013f521-439d-4e48-8e98-41ab6c596aa7_ContentBits">
    <vt:lpwstr>0</vt:lpwstr>
  </property>
</Properties>
</file>